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5.xml" ContentType="application/vnd.openxmlformats-officedocument.theme+xml"/>
  <Override PartName="/ppt/tags/tag5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6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7.xml" ContentType="application/vnd.openxmlformats-officedocument.theme+xml"/>
  <Override PartName="/ppt/tags/tag6.xml" ContentType="application/vnd.openxmlformats-officedocument.presentationml.tags+xml"/>
  <Override PartName="/ppt/theme/theme8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1.xml" ContentType="application/vnd.openxmlformats-officedocument.presentationml.notesSlide+xml"/>
  <Override PartName="/ppt/tags/tag16.xml" ContentType="application/vnd.openxmlformats-officedocument.presentationml.tags+xml"/>
  <Override PartName="/ppt/notesSlides/notesSlide2.xml" ContentType="application/vnd.openxmlformats-officedocument.presentationml.notesSlide+xml"/>
  <Override PartName="/ppt/tags/tag17.xml" ContentType="application/vnd.openxmlformats-officedocument.presentationml.tags+xml"/>
  <Override PartName="/ppt/notesSlides/notesSlide3.xml" ContentType="application/vnd.openxmlformats-officedocument.presentationml.notesSlide+xml"/>
  <Override PartName="/ppt/tags/tag18.xml" ContentType="application/vnd.openxmlformats-officedocument.presentationml.tags+xml"/>
  <Override PartName="/ppt/notesSlides/notesSlide4.xml" ContentType="application/vnd.openxmlformats-officedocument.presentationml.notesSlide+xml"/>
  <Override PartName="/ppt/tags/tag19.xml" ContentType="application/vnd.openxmlformats-officedocument.presentationml.tags+xml"/>
  <Override PartName="/ppt/notesSlides/notesSlide5.xml" ContentType="application/vnd.openxmlformats-officedocument.presentationml.notesSlide+xml"/>
  <Override PartName="/ppt/tags/tag20.xml" ContentType="application/vnd.openxmlformats-officedocument.presentationml.tags+xml"/>
  <Override PartName="/ppt/notesSlides/notesSlide6.xml" ContentType="application/vnd.openxmlformats-officedocument.presentationml.notesSlide+xml"/>
  <Override PartName="/ppt/tags/tag21.xml" ContentType="application/vnd.openxmlformats-officedocument.presentationml.tags+xml"/>
  <Override PartName="/ppt/notesSlides/notesSlide7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8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charts/chart1.xml" ContentType="application/vnd.openxmlformats-officedocument.drawingml.chart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charts/chart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charts/chart3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52" r:id="rId1"/>
    <p:sldMasterId id="2147483717" r:id="rId2"/>
    <p:sldMasterId id="2147483864" r:id="rId3"/>
    <p:sldMasterId id="2147483648" r:id="rId4"/>
    <p:sldMasterId id="2147483865" r:id="rId5"/>
    <p:sldMasterId id="2147483677" r:id="rId6"/>
    <p:sldMasterId id="2147483868" r:id="rId7"/>
  </p:sldMasterIdLst>
  <p:notesMasterIdLst>
    <p:notesMasterId r:id="rId39"/>
  </p:notesMasterIdLst>
  <p:sldIdLst>
    <p:sldId id="262" r:id="rId8"/>
    <p:sldId id="261" r:id="rId9"/>
    <p:sldId id="260" r:id="rId10"/>
    <p:sldId id="259" r:id="rId11"/>
    <p:sldId id="258" r:id="rId12"/>
    <p:sldId id="257" r:id="rId13"/>
    <p:sldId id="275" r:id="rId14"/>
    <p:sldId id="274" r:id="rId15"/>
    <p:sldId id="273" r:id="rId16"/>
    <p:sldId id="272" r:id="rId17"/>
    <p:sldId id="271" r:id="rId18"/>
    <p:sldId id="270" r:id="rId19"/>
    <p:sldId id="269" r:id="rId20"/>
    <p:sldId id="268" r:id="rId21"/>
    <p:sldId id="267" r:id="rId22"/>
    <p:sldId id="266" r:id="rId23"/>
    <p:sldId id="265" r:id="rId24"/>
    <p:sldId id="264" r:id="rId25"/>
    <p:sldId id="282" r:id="rId26"/>
    <p:sldId id="281" r:id="rId27"/>
    <p:sldId id="280" r:id="rId28"/>
    <p:sldId id="279" r:id="rId29"/>
    <p:sldId id="278" r:id="rId30"/>
    <p:sldId id="277" r:id="rId31"/>
    <p:sldId id="276" r:id="rId32"/>
    <p:sldId id="288" r:id="rId33"/>
    <p:sldId id="287" r:id="rId34"/>
    <p:sldId id="286" r:id="rId35"/>
    <p:sldId id="285" r:id="rId36"/>
    <p:sldId id="284" r:id="rId37"/>
    <p:sldId id="283" r:id="rId3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433D60D-1FBC-4CC7-A86B-237E9313D5B2}" v="27" dt="2021-01-20T10:11:39.910"/>
    <p1510:client id="{68E3AAD8-E84C-999D-D70C-7AC1255EB14F}" v="7" dt="2021-01-20T10:15:32.573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959" autoAdjust="0"/>
    <p:restoredTop sz="94660"/>
  </p:normalViewPr>
  <p:slideViewPr>
    <p:cSldViewPr snapToGrid="0">
      <p:cViewPr varScale="1">
        <p:scale>
          <a:sx n="61" d="100"/>
          <a:sy n="61" d="100"/>
        </p:scale>
        <p:origin x="84" y="35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9" Type="http://schemas.openxmlformats.org/officeDocument/2006/relationships/notesMaster" Target="notesMasters/notesMaster1.xml"/><Relationship Id="rId21" Type="http://schemas.openxmlformats.org/officeDocument/2006/relationships/slide" Target="slides/slide14.xml"/><Relationship Id="rId34" Type="http://schemas.openxmlformats.org/officeDocument/2006/relationships/slide" Target="slides/slide27.xml"/><Relationship Id="rId42" Type="http://schemas.openxmlformats.org/officeDocument/2006/relationships/theme" Target="theme/theme1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9" Type="http://schemas.openxmlformats.org/officeDocument/2006/relationships/slide" Target="slides/slide22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slide" Target="slides/slide25.xml"/><Relationship Id="rId37" Type="http://schemas.openxmlformats.org/officeDocument/2006/relationships/slide" Target="slides/slide30.xml"/><Relationship Id="rId40" Type="http://schemas.openxmlformats.org/officeDocument/2006/relationships/presProps" Target="presProps.xml"/><Relationship Id="rId45" Type="http://schemas.microsoft.com/office/2015/10/relationships/revisionInfo" Target="revisionInfo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slide" Target="slides/slide29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slide" Target="slides/slide24.xml"/><Relationship Id="rId44" Type="http://schemas.microsoft.com/office/2016/11/relationships/changesInfo" Target="changesInfos/changesInfo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slide" Target="slides/slide28.xml"/><Relationship Id="rId43" Type="http://schemas.openxmlformats.org/officeDocument/2006/relationships/tableStyles" Target="tableStyles.xml"/><Relationship Id="rId8" Type="http://schemas.openxmlformats.org/officeDocument/2006/relationships/slide" Target="slides/slide1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slide" Target="slides/slide26.xml"/><Relationship Id="rId38" Type="http://schemas.openxmlformats.org/officeDocument/2006/relationships/slide" Target="slides/slide31.xml"/><Relationship Id="rId20" Type="http://schemas.openxmlformats.org/officeDocument/2006/relationships/slide" Target="slides/slide13.xml"/><Relationship Id="rId41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Florian Dohmen" userId="S::florian.dohmen@alumni.fh-aachen.de::3f5c84f2-5ca2-43f1-b763-c372e30c69c1" providerId="AD" clId="Web-{1433D60D-1FBC-4CC7-A86B-237E9313D5B2}"/>
    <pc:docChg chg="addSld delSld addMainMaster modMainMaster">
      <pc:chgData name="Florian Dohmen" userId="S::florian.dohmen@alumni.fh-aachen.de::3f5c84f2-5ca2-43f1-b763-c372e30c69c1" providerId="AD" clId="Web-{1433D60D-1FBC-4CC7-A86B-237E9313D5B2}" dt="2021-01-20T10:11:39.910" v="26"/>
      <pc:docMkLst>
        <pc:docMk/>
      </pc:docMkLst>
      <pc:sldChg chg="add">
        <pc:chgData name="Florian Dohmen" userId="S::florian.dohmen@alumni.fh-aachen.de::3f5c84f2-5ca2-43f1-b763-c372e30c69c1" providerId="AD" clId="Web-{1433D60D-1FBC-4CC7-A86B-237E9313D5B2}" dt="2021-01-20T10:10:05.236" v="0"/>
        <pc:sldMkLst>
          <pc:docMk/>
          <pc:sldMk cId="927344102" sldId="257"/>
        </pc:sldMkLst>
      </pc:sldChg>
      <pc:sldChg chg="add">
        <pc:chgData name="Florian Dohmen" userId="S::florian.dohmen@alumni.fh-aachen.de::3f5c84f2-5ca2-43f1-b763-c372e30c69c1" providerId="AD" clId="Web-{1433D60D-1FBC-4CC7-A86B-237E9313D5B2}" dt="2021-01-20T10:10:05.392" v="1"/>
        <pc:sldMkLst>
          <pc:docMk/>
          <pc:sldMk cId="465806901" sldId="258"/>
        </pc:sldMkLst>
      </pc:sldChg>
      <pc:sldChg chg="add">
        <pc:chgData name="Florian Dohmen" userId="S::florian.dohmen@alumni.fh-aachen.de::3f5c84f2-5ca2-43f1-b763-c372e30c69c1" providerId="AD" clId="Web-{1433D60D-1FBC-4CC7-A86B-237E9313D5B2}" dt="2021-01-20T10:10:05.486" v="2"/>
        <pc:sldMkLst>
          <pc:docMk/>
          <pc:sldMk cId="2533930999" sldId="259"/>
        </pc:sldMkLst>
      </pc:sldChg>
      <pc:sldChg chg="add">
        <pc:chgData name="Florian Dohmen" userId="S::florian.dohmen@alumni.fh-aachen.de::3f5c84f2-5ca2-43f1-b763-c372e30c69c1" providerId="AD" clId="Web-{1433D60D-1FBC-4CC7-A86B-237E9313D5B2}" dt="2021-01-20T10:10:05.595" v="3"/>
        <pc:sldMkLst>
          <pc:docMk/>
          <pc:sldMk cId="3524307544" sldId="260"/>
        </pc:sldMkLst>
      </pc:sldChg>
      <pc:sldChg chg="add">
        <pc:chgData name="Florian Dohmen" userId="S::florian.dohmen@alumni.fh-aachen.de::3f5c84f2-5ca2-43f1-b763-c372e30c69c1" providerId="AD" clId="Web-{1433D60D-1FBC-4CC7-A86B-237E9313D5B2}" dt="2021-01-20T10:10:05.689" v="4"/>
        <pc:sldMkLst>
          <pc:docMk/>
          <pc:sldMk cId="1786005770" sldId="261"/>
        </pc:sldMkLst>
      </pc:sldChg>
      <pc:sldChg chg="add">
        <pc:chgData name="Florian Dohmen" userId="S::florian.dohmen@alumni.fh-aachen.de::3f5c84f2-5ca2-43f1-b763-c372e30c69c1" providerId="AD" clId="Web-{1433D60D-1FBC-4CC7-A86B-237E9313D5B2}" dt="2021-01-20T10:10:05.783" v="5"/>
        <pc:sldMkLst>
          <pc:docMk/>
          <pc:sldMk cId="778888079" sldId="262"/>
        </pc:sldMkLst>
      </pc:sldChg>
      <pc:sldChg chg="add del">
        <pc:chgData name="Florian Dohmen" userId="S::florian.dohmen@alumni.fh-aachen.de::3f5c84f2-5ca2-43f1-b763-c372e30c69c1" providerId="AD" clId="Web-{1433D60D-1FBC-4CC7-A86B-237E9313D5B2}" dt="2021-01-20T10:11:36.175" v="19"/>
        <pc:sldMkLst>
          <pc:docMk/>
          <pc:sldMk cId="2614123720" sldId="263"/>
        </pc:sldMkLst>
      </pc:sldChg>
      <pc:sldChg chg="add">
        <pc:chgData name="Florian Dohmen" userId="S::florian.dohmen@alumni.fh-aachen.de::3f5c84f2-5ca2-43f1-b763-c372e30c69c1" providerId="AD" clId="Web-{1433D60D-1FBC-4CC7-A86B-237E9313D5B2}" dt="2021-01-20T10:10:33.752" v="7"/>
        <pc:sldMkLst>
          <pc:docMk/>
          <pc:sldMk cId="19702140" sldId="264"/>
        </pc:sldMkLst>
      </pc:sldChg>
      <pc:sldChg chg="add">
        <pc:chgData name="Florian Dohmen" userId="S::florian.dohmen@alumni.fh-aachen.de::3f5c84f2-5ca2-43f1-b763-c372e30c69c1" providerId="AD" clId="Web-{1433D60D-1FBC-4CC7-A86B-237E9313D5B2}" dt="2021-01-20T10:10:33.846" v="8"/>
        <pc:sldMkLst>
          <pc:docMk/>
          <pc:sldMk cId="762388231" sldId="265"/>
        </pc:sldMkLst>
      </pc:sldChg>
      <pc:sldChg chg="add">
        <pc:chgData name="Florian Dohmen" userId="S::florian.dohmen@alumni.fh-aachen.de::3f5c84f2-5ca2-43f1-b763-c372e30c69c1" providerId="AD" clId="Web-{1433D60D-1FBC-4CC7-A86B-237E9313D5B2}" dt="2021-01-20T10:10:33.908" v="9"/>
        <pc:sldMkLst>
          <pc:docMk/>
          <pc:sldMk cId="2986235061" sldId="266"/>
        </pc:sldMkLst>
      </pc:sldChg>
      <pc:sldChg chg="add">
        <pc:chgData name="Florian Dohmen" userId="S::florian.dohmen@alumni.fh-aachen.de::3f5c84f2-5ca2-43f1-b763-c372e30c69c1" providerId="AD" clId="Web-{1433D60D-1FBC-4CC7-A86B-237E9313D5B2}" dt="2021-01-20T10:10:33.971" v="10"/>
        <pc:sldMkLst>
          <pc:docMk/>
          <pc:sldMk cId="2488050757" sldId="267"/>
        </pc:sldMkLst>
      </pc:sldChg>
      <pc:sldChg chg="add">
        <pc:chgData name="Florian Dohmen" userId="S::florian.dohmen@alumni.fh-aachen.de::3f5c84f2-5ca2-43f1-b763-c372e30c69c1" providerId="AD" clId="Web-{1433D60D-1FBC-4CC7-A86B-237E9313D5B2}" dt="2021-01-20T10:10:34.080" v="11"/>
        <pc:sldMkLst>
          <pc:docMk/>
          <pc:sldMk cId="730413376" sldId="268"/>
        </pc:sldMkLst>
      </pc:sldChg>
      <pc:sldChg chg="add">
        <pc:chgData name="Florian Dohmen" userId="S::florian.dohmen@alumni.fh-aachen.de::3f5c84f2-5ca2-43f1-b763-c372e30c69c1" providerId="AD" clId="Web-{1433D60D-1FBC-4CC7-A86B-237E9313D5B2}" dt="2021-01-20T10:10:34.189" v="12"/>
        <pc:sldMkLst>
          <pc:docMk/>
          <pc:sldMk cId="3720283461" sldId="269"/>
        </pc:sldMkLst>
      </pc:sldChg>
      <pc:sldChg chg="add">
        <pc:chgData name="Florian Dohmen" userId="S::florian.dohmen@alumni.fh-aachen.de::3f5c84f2-5ca2-43f1-b763-c372e30c69c1" providerId="AD" clId="Web-{1433D60D-1FBC-4CC7-A86B-237E9313D5B2}" dt="2021-01-20T10:10:34.283" v="13"/>
        <pc:sldMkLst>
          <pc:docMk/>
          <pc:sldMk cId="2081170408" sldId="270"/>
        </pc:sldMkLst>
      </pc:sldChg>
      <pc:sldChg chg="add">
        <pc:chgData name="Florian Dohmen" userId="S::florian.dohmen@alumni.fh-aachen.de::3f5c84f2-5ca2-43f1-b763-c372e30c69c1" providerId="AD" clId="Web-{1433D60D-1FBC-4CC7-A86B-237E9313D5B2}" dt="2021-01-20T10:10:34.393" v="14"/>
        <pc:sldMkLst>
          <pc:docMk/>
          <pc:sldMk cId="4137542890" sldId="271"/>
        </pc:sldMkLst>
      </pc:sldChg>
      <pc:sldChg chg="add">
        <pc:chgData name="Florian Dohmen" userId="S::florian.dohmen@alumni.fh-aachen.de::3f5c84f2-5ca2-43f1-b763-c372e30c69c1" providerId="AD" clId="Web-{1433D60D-1FBC-4CC7-A86B-237E9313D5B2}" dt="2021-01-20T10:10:34.502" v="15"/>
        <pc:sldMkLst>
          <pc:docMk/>
          <pc:sldMk cId="1083831949" sldId="272"/>
        </pc:sldMkLst>
      </pc:sldChg>
      <pc:sldChg chg="add">
        <pc:chgData name="Florian Dohmen" userId="S::florian.dohmen@alumni.fh-aachen.de::3f5c84f2-5ca2-43f1-b763-c372e30c69c1" providerId="AD" clId="Web-{1433D60D-1FBC-4CC7-A86B-237E9313D5B2}" dt="2021-01-20T10:10:34.611" v="16"/>
        <pc:sldMkLst>
          <pc:docMk/>
          <pc:sldMk cId="1068867431" sldId="273"/>
        </pc:sldMkLst>
      </pc:sldChg>
      <pc:sldChg chg="add">
        <pc:chgData name="Florian Dohmen" userId="S::florian.dohmen@alumni.fh-aachen.de::3f5c84f2-5ca2-43f1-b763-c372e30c69c1" providerId="AD" clId="Web-{1433D60D-1FBC-4CC7-A86B-237E9313D5B2}" dt="2021-01-20T10:10:34.721" v="17"/>
        <pc:sldMkLst>
          <pc:docMk/>
          <pc:sldMk cId="778269543" sldId="274"/>
        </pc:sldMkLst>
      </pc:sldChg>
      <pc:sldChg chg="add">
        <pc:chgData name="Florian Dohmen" userId="S::florian.dohmen@alumni.fh-aachen.de::3f5c84f2-5ca2-43f1-b763-c372e30c69c1" providerId="AD" clId="Web-{1433D60D-1FBC-4CC7-A86B-237E9313D5B2}" dt="2021-01-20T10:10:34.814" v="18"/>
        <pc:sldMkLst>
          <pc:docMk/>
          <pc:sldMk cId="162635573" sldId="275"/>
        </pc:sldMkLst>
      </pc:sldChg>
      <pc:sldChg chg="add">
        <pc:chgData name="Florian Dohmen" userId="S::florian.dohmen@alumni.fh-aachen.de::3f5c84f2-5ca2-43f1-b763-c372e30c69c1" providerId="AD" clId="Web-{1433D60D-1FBC-4CC7-A86B-237E9313D5B2}" dt="2021-01-20T10:11:39.394" v="20"/>
        <pc:sldMkLst>
          <pc:docMk/>
          <pc:sldMk cId="1771607833" sldId="276"/>
        </pc:sldMkLst>
      </pc:sldChg>
      <pc:sldChg chg="add">
        <pc:chgData name="Florian Dohmen" userId="S::florian.dohmen@alumni.fh-aachen.de::3f5c84f2-5ca2-43f1-b763-c372e30c69c1" providerId="AD" clId="Web-{1433D60D-1FBC-4CC7-A86B-237E9313D5B2}" dt="2021-01-20T10:11:39.488" v="21"/>
        <pc:sldMkLst>
          <pc:docMk/>
          <pc:sldMk cId="2085144802" sldId="277"/>
        </pc:sldMkLst>
      </pc:sldChg>
      <pc:sldChg chg="add">
        <pc:chgData name="Florian Dohmen" userId="S::florian.dohmen@alumni.fh-aachen.de::3f5c84f2-5ca2-43f1-b763-c372e30c69c1" providerId="AD" clId="Web-{1433D60D-1FBC-4CC7-A86B-237E9313D5B2}" dt="2021-01-20T10:11:39.581" v="22"/>
        <pc:sldMkLst>
          <pc:docMk/>
          <pc:sldMk cId="2749301018" sldId="278"/>
        </pc:sldMkLst>
      </pc:sldChg>
      <pc:sldChg chg="add">
        <pc:chgData name="Florian Dohmen" userId="S::florian.dohmen@alumni.fh-aachen.de::3f5c84f2-5ca2-43f1-b763-c372e30c69c1" providerId="AD" clId="Web-{1433D60D-1FBC-4CC7-A86B-237E9313D5B2}" dt="2021-01-20T10:11:39.691" v="23"/>
        <pc:sldMkLst>
          <pc:docMk/>
          <pc:sldMk cId="1472758995" sldId="279"/>
        </pc:sldMkLst>
      </pc:sldChg>
      <pc:sldChg chg="add">
        <pc:chgData name="Florian Dohmen" userId="S::florian.dohmen@alumni.fh-aachen.de::3f5c84f2-5ca2-43f1-b763-c372e30c69c1" providerId="AD" clId="Web-{1433D60D-1FBC-4CC7-A86B-237E9313D5B2}" dt="2021-01-20T10:11:39.831" v="24"/>
        <pc:sldMkLst>
          <pc:docMk/>
          <pc:sldMk cId="937692932" sldId="280"/>
        </pc:sldMkLst>
      </pc:sldChg>
      <pc:sldChg chg="add">
        <pc:chgData name="Florian Dohmen" userId="S::florian.dohmen@alumni.fh-aachen.de::3f5c84f2-5ca2-43f1-b763-c372e30c69c1" providerId="AD" clId="Web-{1433D60D-1FBC-4CC7-A86B-237E9313D5B2}" dt="2021-01-20T10:11:39.878" v="25"/>
        <pc:sldMkLst>
          <pc:docMk/>
          <pc:sldMk cId="240165161" sldId="281"/>
        </pc:sldMkLst>
      </pc:sldChg>
      <pc:sldChg chg="add">
        <pc:chgData name="Florian Dohmen" userId="S::florian.dohmen@alumni.fh-aachen.de::3f5c84f2-5ca2-43f1-b763-c372e30c69c1" providerId="AD" clId="Web-{1433D60D-1FBC-4CC7-A86B-237E9313D5B2}" dt="2021-01-20T10:11:39.910" v="26"/>
        <pc:sldMkLst>
          <pc:docMk/>
          <pc:sldMk cId="2873111239" sldId="282"/>
        </pc:sldMkLst>
      </pc:sldChg>
      <pc:sldMasterChg chg="add addSldLayout">
        <pc:chgData name="Florian Dohmen" userId="S::florian.dohmen@alumni.fh-aachen.de::3f5c84f2-5ca2-43f1-b763-c372e30c69c1" providerId="AD" clId="Web-{1433D60D-1FBC-4CC7-A86B-237E9313D5B2}" dt="2021-01-20T10:10:33.658" v="6"/>
        <pc:sldMasterMkLst>
          <pc:docMk/>
          <pc:sldMasterMk cId="0" sldId="2147483648"/>
        </pc:sldMasterMkLst>
        <pc:sldLayoutChg chg="add">
          <pc:chgData name="Florian Dohmen" userId="S::florian.dohmen@alumni.fh-aachen.de::3f5c84f2-5ca2-43f1-b763-c372e30c69c1" providerId="AD" clId="Web-{1433D60D-1FBC-4CC7-A86B-237E9313D5B2}" dt="2021-01-20T10:10:33.658" v="6"/>
          <pc:sldLayoutMkLst>
            <pc:docMk/>
            <pc:sldMasterMk cId="0" sldId="2147483648"/>
            <pc:sldLayoutMk cId="1106884788" sldId="2147483846"/>
          </pc:sldLayoutMkLst>
        </pc:sldLayoutChg>
        <pc:sldLayoutChg chg="add">
          <pc:chgData name="Florian Dohmen" userId="S::florian.dohmen@alumni.fh-aachen.de::3f5c84f2-5ca2-43f1-b763-c372e30c69c1" providerId="AD" clId="Web-{1433D60D-1FBC-4CC7-A86B-237E9313D5B2}" dt="2021-01-20T10:10:33.658" v="6"/>
          <pc:sldLayoutMkLst>
            <pc:docMk/>
            <pc:sldMasterMk cId="0" sldId="2147483648"/>
            <pc:sldLayoutMk cId="1595395319" sldId="2147483847"/>
          </pc:sldLayoutMkLst>
        </pc:sldLayoutChg>
        <pc:sldLayoutChg chg="add">
          <pc:chgData name="Florian Dohmen" userId="S::florian.dohmen@alumni.fh-aachen.de::3f5c84f2-5ca2-43f1-b763-c372e30c69c1" providerId="AD" clId="Web-{1433D60D-1FBC-4CC7-A86B-237E9313D5B2}" dt="2021-01-20T10:10:33.658" v="6"/>
          <pc:sldLayoutMkLst>
            <pc:docMk/>
            <pc:sldMasterMk cId="0" sldId="2147483648"/>
            <pc:sldLayoutMk cId="2991616734" sldId="2147483848"/>
          </pc:sldLayoutMkLst>
        </pc:sldLayoutChg>
      </pc:sldMasterChg>
      <pc:sldMasterChg chg="add addSldLayout">
        <pc:chgData name="Florian Dohmen" userId="S::florian.dohmen@alumni.fh-aachen.de::3f5c84f2-5ca2-43f1-b763-c372e30c69c1" providerId="AD" clId="Web-{1433D60D-1FBC-4CC7-A86B-237E9313D5B2}" dt="2021-01-20T10:11:39.394" v="20"/>
        <pc:sldMasterMkLst>
          <pc:docMk/>
          <pc:sldMasterMk cId="1522406854" sldId="2147483677"/>
        </pc:sldMasterMkLst>
        <pc:sldLayoutChg chg="add">
          <pc:chgData name="Florian Dohmen" userId="S::florian.dohmen@alumni.fh-aachen.de::3f5c84f2-5ca2-43f1-b763-c372e30c69c1" providerId="AD" clId="Web-{1433D60D-1FBC-4CC7-A86B-237E9313D5B2}" dt="2021-01-20T10:11:39.394" v="20"/>
          <pc:sldLayoutMkLst>
            <pc:docMk/>
            <pc:sldMasterMk cId="1522406854" sldId="2147483677"/>
            <pc:sldLayoutMk cId="3005566003" sldId="2147483678"/>
          </pc:sldLayoutMkLst>
        </pc:sldLayoutChg>
        <pc:sldLayoutChg chg="add">
          <pc:chgData name="Florian Dohmen" userId="S::florian.dohmen@alumni.fh-aachen.de::3f5c84f2-5ca2-43f1-b763-c372e30c69c1" providerId="AD" clId="Web-{1433D60D-1FBC-4CC7-A86B-237E9313D5B2}" dt="2021-01-20T10:11:39.394" v="20"/>
          <pc:sldLayoutMkLst>
            <pc:docMk/>
            <pc:sldMasterMk cId="1522406854" sldId="2147483677"/>
            <pc:sldLayoutMk cId="4175224780" sldId="2147483679"/>
          </pc:sldLayoutMkLst>
        </pc:sldLayoutChg>
        <pc:sldLayoutChg chg="add">
          <pc:chgData name="Florian Dohmen" userId="S::florian.dohmen@alumni.fh-aachen.de::3f5c84f2-5ca2-43f1-b763-c372e30c69c1" providerId="AD" clId="Web-{1433D60D-1FBC-4CC7-A86B-237E9313D5B2}" dt="2021-01-20T10:11:39.394" v="20"/>
          <pc:sldLayoutMkLst>
            <pc:docMk/>
            <pc:sldMasterMk cId="1522406854" sldId="2147483677"/>
            <pc:sldLayoutMk cId="1135766853" sldId="2147483680"/>
          </pc:sldLayoutMkLst>
        </pc:sldLayoutChg>
        <pc:sldLayoutChg chg="add">
          <pc:chgData name="Florian Dohmen" userId="S::florian.dohmen@alumni.fh-aachen.de::3f5c84f2-5ca2-43f1-b763-c372e30c69c1" providerId="AD" clId="Web-{1433D60D-1FBC-4CC7-A86B-237E9313D5B2}" dt="2021-01-20T10:11:39.394" v="20"/>
          <pc:sldLayoutMkLst>
            <pc:docMk/>
            <pc:sldMasterMk cId="1522406854" sldId="2147483677"/>
            <pc:sldLayoutMk cId="3100211679" sldId="2147483682"/>
          </pc:sldLayoutMkLst>
        </pc:sldLayoutChg>
      </pc:sldMasterChg>
      <pc:sldMasterChg chg="add addSldLayout modSldLayout">
        <pc:chgData name="Florian Dohmen" userId="S::florian.dohmen@alumni.fh-aachen.de::3f5c84f2-5ca2-43f1-b763-c372e30c69c1" providerId="AD" clId="Web-{1433D60D-1FBC-4CC7-A86B-237E9313D5B2}" dt="2021-01-20T10:10:33.752" v="7"/>
        <pc:sldMasterMkLst>
          <pc:docMk/>
          <pc:sldMasterMk cId="0" sldId="2147483717"/>
        </pc:sldMasterMkLst>
        <pc:sldLayoutChg chg="add">
          <pc:chgData name="Florian Dohmen" userId="S::florian.dohmen@alumni.fh-aachen.de::3f5c84f2-5ca2-43f1-b763-c372e30c69c1" providerId="AD" clId="Web-{1433D60D-1FBC-4CC7-A86B-237E9313D5B2}" dt="2021-01-20T10:10:05.236" v="0"/>
          <pc:sldLayoutMkLst>
            <pc:docMk/>
            <pc:sldMasterMk cId="0" sldId="2147483717"/>
            <pc:sldLayoutMk cId="256870192" sldId="2147483851"/>
          </pc:sldLayoutMkLst>
        </pc:sldLayoutChg>
        <pc:sldLayoutChg chg="add replId">
          <pc:chgData name="Florian Dohmen" userId="S::florian.dohmen@alumni.fh-aachen.de::3f5c84f2-5ca2-43f1-b763-c372e30c69c1" providerId="AD" clId="Web-{1433D60D-1FBC-4CC7-A86B-237E9313D5B2}" dt="2021-01-20T10:10:33.752" v="7"/>
          <pc:sldLayoutMkLst>
            <pc:docMk/>
            <pc:sldMasterMk cId="0" sldId="2147483717"/>
            <pc:sldLayoutMk cId="3126233678" sldId="2147483866"/>
          </pc:sldLayoutMkLst>
        </pc:sldLayoutChg>
        <pc:sldLayoutChg chg="add replId">
          <pc:chgData name="Florian Dohmen" userId="S::florian.dohmen@alumni.fh-aachen.de::3f5c84f2-5ca2-43f1-b763-c372e30c69c1" providerId="AD" clId="Web-{1433D60D-1FBC-4CC7-A86B-237E9313D5B2}" dt="2021-01-20T10:10:33.752" v="7"/>
          <pc:sldLayoutMkLst>
            <pc:docMk/>
            <pc:sldMasterMk cId="0" sldId="2147483717"/>
            <pc:sldLayoutMk cId="667106608" sldId="2147483867"/>
          </pc:sldLayoutMkLst>
        </pc:sldLayoutChg>
      </pc:sldMasterChg>
      <pc:sldMasterChg chg="replId modSldLayout">
        <pc:chgData name="Florian Dohmen" userId="S::florian.dohmen@alumni.fh-aachen.de::3f5c84f2-5ca2-43f1-b763-c372e30c69c1" providerId="AD" clId="Web-{1433D60D-1FBC-4CC7-A86B-237E9313D5B2}" dt="2021-01-20T10:10:05.783" v="5"/>
        <pc:sldMasterMkLst>
          <pc:docMk/>
          <pc:sldMasterMk cId="594725491" sldId="2147483852"/>
        </pc:sldMasterMkLst>
        <pc:sldLayoutChg chg="replId">
          <pc:chgData name="Florian Dohmen" userId="S::florian.dohmen@alumni.fh-aachen.de::3f5c84f2-5ca2-43f1-b763-c372e30c69c1" providerId="AD" clId="Web-{1433D60D-1FBC-4CC7-A86B-237E9313D5B2}" dt="2021-01-20T10:10:05.783" v="5"/>
          <pc:sldLayoutMkLst>
            <pc:docMk/>
            <pc:sldMasterMk cId="594725491" sldId="2147483852"/>
            <pc:sldLayoutMk cId="4043166929" sldId="2147483853"/>
          </pc:sldLayoutMkLst>
        </pc:sldLayoutChg>
        <pc:sldLayoutChg chg="replId">
          <pc:chgData name="Florian Dohmen" userId="S::florian.dohmen@alumni.fh-aachen.de::3f5c84f2-5ca2-43f1-b763-c372e30c69c1" providerId="AD" clId="Web-{1433D60D-1FBC-4CC7-A86B-237E9313D5B2}" dt="2021-01-20T10:10:05.783" v="5"/>
          <pc:sldLayoutMkLst>
            <pc:docMk/>
            <pc:sldMasterMk cId="594725491" sldId="2147483852"/>
            <pc:sldLayoutMk cId="3433200589" sldId="2147483854"/>
          </pc:sldLayoutMkLst>
        </pc:sldLayoutChg>
        <pc:sldLayoutChg chg="replId">
          <pc:chgData name="Florian Dohmen" userId="S::florian.dohmen@alumni.fh-aachen.de::3f5c84f2-5ca2-43f1-b763-c372e30c69c1" providerId="AD" clId="Web-{1433D60D-1FBC-4CC7-A86B-237E9313D5B2}" dt="2021-01-20T10:10:05.783" v="5"/>
          <pc:sldLayoutMkLst>
            <pc:docMk/>
            <pc:sldMasterMk cId="594725491" sldId="2147483852"/>
            <pc:sldLayoutMk cId="2835585648" sldId="2147483855"/>
          </pc:sldLayoutMkLst>
        </pc:sldLayoutChg>
        <pc:sldLayoutChg chg="replId">
          <pc:chgData name="Florian Dohmen" userId="S::florian.dohmen@alumni.fh-aachen.de::3f5c84f2-5ca2-43f1-b763-c372e30c69c1" providerId="AD" clId="Web-{1433D60D-1FBC-4CC7-A86B-237E9313D5B2}" dt="2021-01-20T10:10:05.783" v="5"/>
          <pc:sldLayoutMkLst>
            <pc:docMk/>
            <pc:sldMasterMk cId="594725491" sldId="2147483852"/>
            <pc:sldLayoutMk cId="742901757" sldId="2147483856"/>
          </pc:sldLayoutMkLst>
        </pc:sldLayoutChg>
        <pc:sldLayoutChg chg="replId">
          <pc:chgData name="Florian Dohmen" userId="S::florian.dohmen@alumni.fh-aachen.de::3f5c84f2-5ca2-43f1-b763-c372e30c69c1" providerId="AD" clId="Web-{1433D60D-1FBC-4CC7-A86B-237E9313D5B2}" dt="2021-01-20T10:10:05.783" v="5"/>
          <pc:sldLayoutMkLst>
            <pc:docMk/>
            <pc:sldMasterMk cId="594725491" sldId="2147483852"/>
            <pc:sldLayoutMk cId="2024084034" sldId="2147483857"/>
          </pc:sldLayoutMkLst>
        </pc:sldLayoutChg>
        <pc:sldLayoutChg chg="replId">
          <pc:chgData name="Florian Dohmen" userId="S::florian.dohmen@alumni.fh-aachen.de::3f5c84f2-5ca2-43f1-b763-c372e30c69c1" providerId="AD" clId="Web-{1433D60D-1FBC-4CC7-A86B-237E9313D5B2}" dt="2021-01-20T10:10:05.783" v="5"/>
          <pc:sldLayoutMkLst>
            <pc:docMk/>
            <pc:sldMasterMk cId="594725491" sldId="2147483852"/>
            <pc:sldLayoutMk cId="2440206447" sldId="2147483858"/>
          </pc:sldLayoutMkLst>
        </pc:sldLayoutChg>
        <pc:sldLayoutChg chg="replId">
          <pc:chgData name="Florian Dohmen" userId="S::florian.dohmen@alumni.fh-aachen.de::3f5c84f2-5ca2-43f1-b763-c372e30c69c1" providerId="AD" clId="Web-{1433D60D-1FBC-4CC7-A86B-237E9313D5B2}" dt="2021-01-20T10:10:05.783" v="5"/>
          <pc:sldLayoutMkLst>
            <pc:docMk/>
            <pc:sldMasterMk cId="594725491" sldId="2147483852"/>
            <pc:sldLayoutMk cId="3087692832" sldId="2147483859"/>
          </pc:sldLayoutMkLst>
        </pc:sldLayoutChg>
        <pc:sldLayoutChg chg="replId">
          <pc:chgData name="Florian Dohmen" userId="S::florian.dohmen@alumni.fh-aachen.de::3f5c84f2-5ca2-43f1-b763-c372e30c69c1" providerId="AD" clId="Web-{1433D60D-1FBC-4CC7-A86B-237E9313D5B2}" dt="2021-01-20T10:10:05.783" v="5"/>
          <pc:sldLayoutMkLst>
            <pc:docMk/>
            <pc:sldMasterMk cId="594725491" sldId="2147483852"/>
            <pc:sldLayoutMk cId="3453883237" sldId="2147483860"/>
          </pc:sldLayoutMkLst>
        </pc:sldLayoutChg>
        <pc:sldLayoutChg chg="replId">
          <pc:chgData name="Florian Dohmen" userId="S::florian.dohmen@alumni.fh-aachen.de::3f5c84f2-5ca2-43f1-b763-c372e30c69c1" providerId="AD" clId="Web-{1433D60D-1FBC-4CC7-A86B-237E9313D5B2}" dt="2021-01-20T10:10:05.783" v="5"/>
          <pc:sldLayoutMkLst>
            <pc:docMk/>
            <pc:sldMasterMk cId="594725491" sldId="2147483852"/>
            <pc:sldLayoutMk cId="2509888776" sldId="2147483861"/>
          </pc:sldLayoutMkLst>
        </pc:sldLayoutChg>
        <pc:sldLayoutChg chg="replId">
          <pc:chgData name="Florian Dohmen" userId="S::florian.dohmen@alumni.fh-aachen.de::3f5c84f2-5ca2-43f1-b763-c372e30c69c1" providerId="AD" clId="Web-{1433D60D-1FBC-4CC7-A86B-237E9313D5B2}" dt="2021-01-20T10:10:05.783" v="5"/>
          <pc:sldLayoutMkLst>
            <pc:docMk/>
            <pc:sldMasterMk cId="594725491" sldId="2147483852"/>
            <pc:sldLayoutMk cId="1699206799" sldId="2147483862"/>
          </pc:sldLayoutMkLst>
        </pc:sldLayoutChg>
        <pc:sldLayoutChg chg="replId">
          <pc:chgData name="Florian Dohmen" userId="S::florian.dohmen@alumni.fh-aachen.de::3f5c84f2-5ca2-43f1-b763-c372e30c69c1" providerId="AD" clId="Web-{1433D60D-1FBC-4CC7-A86B-237E9313D5B2}" dt="2021-01-20T10:10:05.783" v="5"/>
          <pc:sldLayoutMkLst>
            <pc:docMk/>
            <pc:sldMasterMk cId="594725491" sldId="2147483852"/>
            <pc:sldLayoutMk cId="2809958959" sldId="2147483863"/>
          </pc:sldLayoutMkLst>
        </pc:sldLayoutChg>
      </pc:sldMasterChg>
      <pc:sldMasterChg chg="add replId addSldLayout">
        <pc:chgData name="Florian Dohmen" userId="S::florian.dohmen@alumni.fh-aachen.de::3f5c84f2-5ca2-43f1-b763-c372e30c69c1" providerId="AD" clId="Web-{1433D60D-1FBC-4CC7-A86B-237E9313D5B2}" dt="2021-01-20T10:10:33.658" v="6"/>
        <pc:sldMasterMkLst>
          <pc:docMk/>
          <pc:sldMasterMk cId="3602775455" sldId="2147483864"/>
        </pc:sldMasterMkLst>
        <pc:sldLayoutChg chg="add">
          <pc:chgData name="Florian Dohmen" userId="S::florian.dohmen@alumni.fh-aachen.de::3f5c84f2-5ca2-43f1-b763-c372e30c69c1" providerId="AD" clId="Web-{1433D60D-1FBC-4CC7-A86B-237E9313D5B2}" dt="2021-01-20T10:10:05.783" v="5"/>
          <pc:sldLayoutMkLst>
            <pc:docMk/>
            <pc:sldMasterMk cId="3602775455" sldId="2147483864"/>
            <pc:sldLayoutMk cId="2308045455" sldId="2147483649"/>
          </pc:sldLayoutMkLst>
        </pc:sldLayoutChg>
        <pc:sldLayoutChg chg="add">
          <pc:chgData name="Florian Dohmen" userId="S::florian.dohmen@alumni.fh-aachen.de::3f5c84f2-5ca2-43f1-b763-c372e30c69c1" providerId="AD" clId="Web-{1433D60D-1FBC-4CC7-A86B-237E9313D5B2}" dt="2021-01-20T10:10:05.783" v="5"/>
          <pc:sldLayoutMkLst>
            <pc:docMk/>
            <pc:sldMasterMk cId="3602775455" sldId="2147483864"/>
            <pc:sldLayoutMk cId="3645957747" sldId="2147483650"/>
          </pc:sldLayoutMkLst>
        </pc:sldLayoutChg>
        <pc:sldLayoutChg chg="add">
          <pc:chgData name="Florian Dohmen" userId="S::florian.dohmen@alumni.fh-aachen.de::3f5c84f2-5ca2-43f1-b763-c372e30c69c1" providerId="AD" clId="Web-{1433D60D-1FBC-4CC7-A86B-237E9313D5B2}" dt="2021-01-20T10:10:05.783" v="5"/>
          <pc:sldLayoutMkLst>
            <pc:docMk/>
            <pc:sldMasterMk cId="3602775455" sldId="2147483864"/>
            <pc:sldLayoutMk cId="1881513117" sldId="2147483651"/>
          </pc:sldLayoutMkLst>
        </pc:sldLayoutChg>
        <pc:sldLayoutChg chg="add">
          <pc:chgData name="Florian Dohmen" userId="S::florian.dohmen@alumni.fh-aachen.de::3f5c84f2-5ca2-43f1-b763-c372e30c69c1" providerId="AD" clId="Web-{1433D60D-1FBC-4CC7-A86B-237E9313D5B2}" dt="2021-01-20T10:10:05.783" v="5"/>
          <pc:sldLayoutMkLst>
            <pc:docMk/>
            <pc:sldMasterMk cId="3602775455" sldId="2147483864"/>
            <pc:sldLayoutMk cId="2717733145" sldId="2147483652"/>
          </pc:sldLayoutMkLst>
        </pc:sldLayoutChg>
        <pc:sldLayoutChg chg="add">
          <pc:chgData name="Florian Dohmen" userId="S::florian.dohmen@alumni.fh-aachen.de::3f5c84f2-5ca2-43f1-b763-c372e30c69c1" providerId="AD" clId="Web-{1433D60D-1FBC-4CC7-A86B-237E9313D5B2}" dt="2021-01-20T10:10:05.783" v="5"/>
          <pc:sldLayoutMkLst>
            <pc:docMk/>
            <pc:sldMasterMk cId="3602775455" sldId="2147483864"/>
            <pc:sldLayoutMk cId="733445876" sldId="2147483653"/>
          </pc:sldLayoutMkLst>
        </pc:sldLayoutChg>
        <pc:sldLayoutChg chg="add">
          <pc:chgData name="Florian Dohmen" userId="S::florian.dohmen@alumni.fh-aachen.de::3f5c84f2-5ca2-43f1-b763-c372e30c69c1" providerId="AD" clId="Web-{1433D60D-1FBC-4CC7-A86B-237E9313D5B2}" dt="2021-01-20T10:10:05.783" v="5"/>
          <pc:sldLayoutMkLst>
            <pc:docMk/>
            <pc:sldMasterMk cId="3602775455" sldId="2147483864"/>
            <pc:sldLayoutMk cId="1950749141" sldId="2147483654"/>
          </pc:sldLayoutMkLst>
        </pc:sldLayoutChg>
        <pc:sldLayoutChg chg="add">
          <pc:chgData name="Florian Dohmen" userId="S::florian.dohmen@alumni.fh-aachen.de::3f5c84f2-5ca2-43f1-b763-c372e30c69c1" providerId="AD" clId="Web-{1433D60D-1FBC-4CC7-A86B-237E9313D5B2}" dt="2021-01-20T10:10:05.783" v="5"/>
          <pc:sldLayoutMkLst>
            <pc:docMk/>
            <pc:sldMasterMk cId="3602775455" sldId="2147483864"/>
            <pc:sldLayoutMk cId="1238150490" sldId="2147483655"/>
          </pc:sldLayoutMkLst>
        </pc:sldLayoutChg>
        <pc:sldLayoutChg chg="add">
          <pc:chgData name="Florian Dohmen" userId="S::florian.dohmen@alumni.fh-aachen.de::3f5c84f2-5ca2-43f1-b763-c372e30c69c1" providerId="AD" clId="Web-{1433D60D-1FBC-4CC7-A86B-237E9313D5B2}" dt="2021-01-20T10:10:05.783" v="5"/>
          <pc:sldLayoutMkLst>
            <pc:docMk/>
            <pc:sldMasterMk cId="3602775455" sldId="2147483864"/>
            <pc:sldLayoutMk cId="3298134373" sldId="2147483656"/>
          </pc:sldLayoutMkLst>
        </pc:sldLayoutChg>
        <pc:sldLayoutChg chg="add">
          <pc:chgData name="Florian Dohmen" userId="S::florian.dohmen@alumni.fh-aachen.de::3f5c84f2-5ca2-43f1-b763-c372e30c69c1" providerId="AD" clId="Web-{1433D60D-1FBC-4CC7-A86B-237E9313D5B2}" dt="2021-01-20T10:10:05.783" v="5"/>
          <pc:sldLayoutMkLst>
            <pc:docMk/>
            <pc:sldMasterMk cId="3602775455" sldId="2147483864"/>
            <pc:sldLayoutMk cId="3544356116" sldId="2147483657"/>
          </pc:sldLayoutMkLst>
        </pc:sldLayoutChg>
        <pc:sldLayoutChg chg="add">
          <pc:chgData name="Florian Dohmen" userId="S::florian.dohmen@alumni.fh-aachen.de::3f5c84f2-5ca2-43f1-b763-c372e30c69c1" providerId="AD" clId="Web-{1433D60D-1FBC-4CC7-A86B-237E9313D5B2}" dt="2021-01-20T10:10:05.783" v="5"/>
          <pc:sldLayoutMkLst>
            <pc:docMk/>
            <pc:sldMasterMk cId="3602775455" sldId="2147483864"/>
            <pc:sldLayoutMk cId="2830423065" sldId="2147483658"/>
          </pc:sldLayoutMkLst>
        </pc:sldLayoutChg>
        <pc:sldLayoutChg chg="add">
          <pc:chgData name="Florian Dohmen" userId="S::florian.dohmen@alumni.fh-aachen.de::3f5c84f2-5ca2-43f1-b763-c372e30c69c1" providerId="AD" clId="Web-{1433D60D-1FBC-4CC7-A86B-237E9313D5B2}" dt="2021-01-20T10:10:05.783" v="5"/>
          <pc:sldLayoutMkLst>
            <pc:docMk/>
            <pc:sldMasterMk cId="3602775455" sldId="2147483864"/>
            <pc:sldLayoutMk cId="3849561048" sldId="2147483659"/>
          </pc:sldLayoutMkLst>
        </pc:sldLayoutChg>
      </pc:sldMasterChg>
      <pc:sldMasterChg chg="add addSldLayout">
        <pc:chgData name="Florian Dohmen" userId="S::florian.dohmen@alumni.fh-aachen.de::3f5c84f2-5ca2-43f1-b763-c372e30c69c1" providerId="AD" clId="Web-{1433D60D-1FBC-4CC7-A86B-237E9313D5B2}" dt="2021-01-20T10:10:33.752" v="7"/>
        <pc:sldMasterMkLst>
          <pc:docMk/>
          <pc:sldMasterMk cId="0" sldId="2147483865"/>
        </pc:sldMasterMkLst>
        <pc:sldLayoutChg chg="add">
          <pc:chgData name="Florian Dohmen" userId="S::florian.dohmen@alumni.fh-aachen.de::3f5c84f2-5ca2-43f1-b763-c372e30c69c1" providerId="AD" clId="Web-{1433D60D-1FBC-4CC7-A86B-237E9313D5B2}" dt="2021-01-20T10:10:33.752" v="7"/>
          <pc:sldLayoutMkLst>
            <pc:docMk/>
            <pc:sldMasterMk cId="0" sldId="2147483865"/>
            <pc:sldLayoutMk cId="574841716" sldId="2147483869"/>
          </pc:sldLayoutMkLst>
        </pc:sldLayoutChg>
        <pc:sldLayoutChg chg="add">
          <pc:chgData name="Florian Dohmen" userId="S::florian.dohmen@alumni.fh-aachen.de::3f5c84f2-5ca2-43f1-b763-c372e30c69c1" providerId="AD" clId="Web-{1433D60D-1FBC-4CC7-A86B-237E9313D5B2}" dt="2021-01-20T10:10:33.752" v="7"/>
          <pc:sldLayoutMkLst>
            <pc:docMk/>
            <pc:sldMasterMk cId="0" sldId="2147483865"/>
            <pc:sldLayoutMk cId="433774298" sldId="2147483870"/>
          </pc:sldLayoutMkLst>
        </pc:sldLayoutChg>
      </pc:sldMasterChg>
    </pc:docChg>
  </pc:docChgLst>
  <pc:docChgLst>
    <pc:chgData name="Florian Dohmen" userId="S::florian.dohmen@alumni.fh-aachen.de::3f5c84f2-5ca2-43f1-b763-c372e30c69c1" providerId="AD" clId="Web-{68E3AAD8-E84C-999D-D70C-7AC1255EB14F}"/>
    <pc:docChg chg="addSld delSld addMainMaster modMainMaster">
      <pc:chgData name="Florian Dohmen" userId="S::florian.dohmen@alumni.fh-aachen.de::3f5c84f2-5ca2-43f1-b763-c372e30c69c1" providerId="AD" clId="Web-{68E3AAD8-E84C-999D-D70C-7AC1255EB14F}" dt="2021-01-20T10:15:32.573" v="6"/>
      <pc:docMkLst>
        <pc:docMk/>
      </pc:docMkLst>
      <pc:sldChg chg="del">
        <pc:chgData name="Florian Dohmen" userId="S::florian.dohmen@alumni.fh-aachen.de::3f5c84f2-5ca2-43f1-b763-c372e30c69c1" providerId="AD" clId="Web-{68E3AAD8-E84C-999D-D70C-7AC1255EB14F}" dt="2021-01-20T10:15:32.573" v="6"/>
        <pc:sldMkLst>
          <pc:docMk/>
          <pc:sldMk cId="1577499883" sldId="256"/>
        </pc:sldMkLst>
      </pc:sldChg>
      <pc:sldChg chg="add">
        <pc:chgData name="Florian Dohmen" userId="S::florian.dohmen@alumni.fh-aachen.de::3f5c84f2-5ca2-43f1-b763-c372e30c69c1" providerId="AD" clId="Web-{68E3AAD8-E84C-999D-D70C-7AC1255EB14F}" dt="2021-01-20T10:15:08.729" v="0"/>
        <pc:sldMkLst>
          <pc:docMk/>
          <pc:sldMk cId="1819134899" sldId="283"/>
        </pc:sldMkLst>
      </pc:sldChg>
      <pc:sldChg chg="add">
        <pc:chgData name="Florian Dohmen" userId="S::florian.dohmen@alumni.fh-aachen.de::3f5c84f2-5ca2-43f1-b763-c372e30c69c1" providerId="AD" clId="Web-{68E3AAD8-E84C-999D-D70C-7AC1255EB14F}" dt="2021-01-20T10:15:08.838" v="1"/>
        <pc:sldMkLst>
          <pc:docMk/>
          <pc:sldMk cId="3243641318" sldId="284"/>
        </pc:sldMkLst>
      </pc:sldChg>
      <pc:sldChg chg="add">
        <pc:chgData name="Florian Dohmen" userId="S::florian.dohmen@alumni.fh-aachen.de::3f5c84f2-5ca2-43f1-b763-c372e30c69c1" providerId="AD" clId="Web-{68E3AAD8-E84C-999D-D70C-7AC1255EB14F}" dt="2021-01-20T10:15:08.963" v="2"/>
        <pc:sldMkLst>
          <pc:docMk/>
          <pc:sldMk cId="2642470604" sldId="285"/>
        </pc:sldMkLst>
      </pc:sldChg>
      <pc:sldChg chg="add">
        <pc:chgData name="Florian Dohmen" userId="S::florian.dohmen@alumni.fh-aachen.de::3f5c84f2-5ca2-43f1-b763-c372e30c69c1" providerId="AD" clId="Web-{68E3AAD8-E84C-999D-D70C-7AC1255EB14F}" dt="2021-01-20T10:15:09.057" v="3"/>
        <pc:sldMkLst>
          <pc:docMk/>
          <pc:sldMk cId="3726574134" sldId="286"/>
        </pc:sldMkLst>
      </pc:sldChg>
      <pc:sldChg chg="add">
        <pc:chgData name="Florian Dohmen" userId="S::florian.dohmen@alumni.fh-aachen.de::3f5c84f2-5ca2-43f1-b763-c372e30c69c1" providerId="AD" clId="Web-{68E3AAD8-E84C-999D-D70C-7AC1255EB14F}" dt="2021-01-20T10:15:09.166" v="4"/>
        <pc:sldMkLst>
          <pc:docMk/>
          <pc:sldMk cId="3400218533" sldId="287"/>
        </pc:sldMkLst>
      </pc:sldChg>
      <pc:sldChg chg="add">
        <pc:chgData name="Florian Dohmen" userId="S::florian.dohmen@alumni.fh-aachen.de::3f5c84f2-5ca2-43f1-b763-c372e30c69c1" providerId="AD" clId="Web-{68E3AAD8-E84C-999D-D70C-7AC1255EB14F}" dt="2021-01-20T10:15:09.229" v="5"/>
        <pc:sldMkLst>
          <pc:docMk/>
          <pc:sldMk cId="1825717442" sldId="288"/>
        </pc:sldMkLst>
      </pc:sldChg>
      <pc:sldMasterChg chg="modSldLayout">
        <pc:chgData name="Florian Dohmen" userId="S::florian.dohmen@alumni.fh-aachen.de::3f5c84f2-5ca2-43f1-b763-c372e30c69c1" providerId="AD" clId="Web-{68E3AAD8-E84C-999D-D70C-7AC1255EB14F}" dt="2021-01-20T10:15:08.729" v="0"/>
        <pc:sldMasterMkLst>
          <pc:docMk/>
          <pc:sldMasterMk cId="0" sldId="2147483865"/>
        </pc:sldMasterMkLst>
        <pc:sldLayoutChg chg="replId">
          <pc:chgData name="Florian Dohmen" userId="S::florian.dohmen@alumni.fh-aachen.de::3f5c84f2-5ca2-43f1-b763-c372e30c69c1" providerId="AD" clId="Web-{68E3AAD8-E84C-999D-D70C-7AC1255EB14F}" dt="2021-01-20T10:15:08.729" v="0"/>
          <pc:sldLayoutMkLst>
            <pc:docMk/>
            <pc:sldMasterMk cId="0" sldId="2147483865"/>
            <pc:sldLayoutMk cId="574841716" sldId="2147483869"/>
          </pc:sldLayoutMkLst>
        </pc:sldLayoutChg>
        <pc:sldLayoutChg chg="replId">
          <pc:chgData name="Florian Dohmen" userId="S::florian.dohmen@alumni.fh-aachen.de::3f5c84f2-5ca2-43f1-b763-c372e30c69c1" providerId="AD" clId="Web-{68E3AAD8-E84C-999D-D70C-7AC1255EB14F}" dt="2021-01-20T10:15:08.729" v="0"/>
          <pc:sldLayoutMkLst>
            <pc:docMk/>
            <pc:sldMasterMk cId="0" sldId="2147483865"/>
            <pc:sldLayoutMk cId="433774298" sldId="2147483870"/>
          </pc:sldLayoutMkLst>
        </pc:sldLayoutChg>
      </pc:sldMasterChg>
      <pc:sldMasterChg chg="add addSldLayout">
        <pc:chgData name="Florian Dohmen" userId="S::florian.dohmen@alumni.fh-aachen.de::3f5c84f2-5ca2-43f1-b763-c372e30c69c1" providerId="AD" clId="Web-{68E3AAD8-E84C-999D-D70C-7AC1255EB14F}" dt="2021-01-20T10:15:08.729" v="0"/>
        <pc:sldMasterMkLst>
          <pc:docMk/>
          <pc:sldMasterMk cId="0" sldId="2147483868"/>
        </pc:sldMasterMkLst>
        <pc:sldLayoutChg chg="add">
          <pc:chgData name="Florian Dohmen" userId="S::florian.dohmen@alumni.fh-aachen.de::3f5c84f2-5ca2-43f1-b763-c372e30c69c1" providerId="AD" clId="Web-{68E3AAD8-E84C-999D-D70C-7AC1255EB14F}" dt="2021-01-20T10:15:08.729" v="0"/>
          <pc:sldLayoutMkLst>
            <pc:docMk/>
            <pc:sldMasterMk cId="0" sldId="2147483868"/>
            <pc:sldLayoutMk cId="2340856418" sldId="2147483849"/>
          </pc:sldLayoutMkLst>
        </pc:sldLayoutChg>
        <pc:sldLayoutChg chg="add">
          <pc:chgData name="Florian Dohmen" userId="S::florian.dohmen@alumni.fh-aachen.de::3f5c84f2-5ca2-43f1-b763-c372e30c69c1" providerId="AD" clId="Web-{68E3AAD8-E84C-999D-D70C-7AC1255EB14F}" dt="2021-01-20T10:15:08.729" v="0"/>
          <pc:sldLayoutMkLst>
            <pc:docMk/>
            <pc:sldMasterMk cId="0" sldId="2147483868"/>
            <pc:sldLayoutMk cId="2557414005" sldId="2147483850"/>
          </pc:sldLayoutMkLst>
        </pc:sldLayoutChg>
      </pc:sldMaster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D:\Windows%2010\Documents\Universitaet\WS2020-2021\SWE\Praktikum\Zeiterfassung\SWE%20Burndown-Chart_neu%20.xlsx" TargetMode="Externa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/>
          <a:lstStyle/>
          <a:p>
            <a:pPr>
              <a:defRPr sz="1300" b="0" strike="noStrike" spc="-1">
                <a:latin typeface="Arial"/>
              </a:defRPr>
            </a:pPr>
            <a:r>
              <a:rPr lang="de-DE" sz="1300" b="0" strike="noStrike" spc="-1">
                <a:latin typeface="Arial"/>
              </a:rPr>
              <a:t>SWE Burndown Chart</a:t>
            </a:r>
          </a:p>
        </c:rich>
      </c:tx>
      <c:overlay val="0"/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[SWE Burndown-Chart_neu .xlsx]Tabelle1'!$B$4</c:f>
              <c:strCache>
                <c:ptCount val="1"/>
                <c:pt idx="0">
                  <c:v>Wochenaufwand</c:v>
                </c:pt>
              </c:strCache>
            </c:strRef>
          </c:tx>
          <c:spPr>
            <a:ln w="28800">
              <a:solidFill>
                <a:srgbClr val="004586"/>
              </a:solidFill>
              <a:round/>
            </a:ln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1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[SWE Burndown-Chart_neu .xlsx]Tabelle1'!$A$5:$A$17</c:f>
              <c:numCache>
                <c:formatCode>General</c:formatCode>
                <c:ptCount val="13"/>
                <c:pt idx="0">
                  <c:v>43</c:v>
                </c:pt>
                <c:pt idx="1">
                  <c:v>44</c:v>
                </c:pt>
                <c:pt idx="2">
                  <c:v>45</c:v>
                </c:pt>
                <c:pt idx="3">
                  <c:v>46</c:v>
                </c:pt>
                <c:pt idx="4">
                  <c:v>47</c:v>
                </c:pt>
                <c:pt idx="5">
                  <c:v>48</c:v>
                </c:pt>
                <c:pt idx="6">
                  <c:v>49</c:v>
                </c:pt>
                <c:pt idx="7">
                  <c:v>50</c:v>
                </c:pt>
                <c:pt idx="8">
                  <c:v>51</c:v>
                </c:pt>
                <c:pt idx="9">
                  <c:v>52</c:v>
                </c:pt>
                <c:pt idx="10">
                  <c:v>53</c:v>
                </c:pt>
                <c:pt idx="11">
                  <c:v>1</c:v>
                </c:pt>
                <c:pt idx="12">
                  <c:v>2</c:v>
                </c:pt>
              </c:numCache>
            </c:numRef>
          </c:cat>
          <c:val>
            <c:numRef>
              <c:f>'[SWE Burndown-Chart_neu .xlsx]Tabelle1'!$B$5:$B$17</c:f>
              <c:numCache>
                <c:formatCode>General</c:formatCode>
                <c:ptCount val="13"/>
                <c:pt idx="0">
                  <c:v>0.5</c:v>
                </c:pt>
                <c:pt idx="1">
                  <c:v>9</c:v>
                </c:pt>
                <c:pt idx="2">
                  <c:v>13</c:v>
                </c:pt>
                <c:pt idx="3">
                  <c:v>6.5</c:v>
                </c:pt>
                <c:pt idx="4">
                  <c:v>36.5</c:v>
                </c:pt>
                <c:pt idx="5">
                  <c:v>18</c:v>
                </c:pt>
                <c:pt idx="6">
                  <c:v>21</c:v>
                </c:pt>
                <c:pt idx="7">
                  <c:v>29.5</c:v>
                </c:pt>
                <c:pt idx="8">
                  <c:v>22</c:v>
                </c:pt>
                <c:pt idx="9">
                  <c:v>41.5</c:v>
                </c:pt>
                <c:pt idx="10">
                  <c:v>43.5</c:v>
                </c:pt>
                <c:pt idx="11">
                  <c:v>50</c:v>
                </c:pt>
                <c:pt idx="12">
                  <c:v>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CB0-4F2E-BDC5-453B78FE639C}"/>
            </c:ext>
          </c:extLst>
        </c:ser>
        <c:ser>
          <c:idx val="1"/>
          <c:order val="1"/>
          <c:tx>
            <c:strRef>
              <c:f>'[SWE Burndown-Chart_neu .xlsx]Tabelle1'!$C$4</c:f>
              <c:strCache>
                <c:ptCount val="1"/>
                <c:pt idx="0">
                  <c:v>Restaufwand</c:v>
                </c:pt>
              </c:strCache>
            </c:strRef>
          </c:tx>
          <c:spPr>
            <a:ln w="54000">
              <a:solidFill>
                <a:srgbClr val="FF420E"/>
              </a:solidFill>
              <a:round/>
            </a:ln>
          </c:spPr>
          <c:marker>
            <c:symbol val="circle"/>
            <c:size val="10"/>
            <c:spPr>
              <a:solidFill>
                <a:srgbClr val="FF420E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1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[SWE Burndown-Chart_neu .xlsx]Tabelle1'!$A$5:$A$17</c:f>
              <c:numCache>
                <c:formatCode>General</c:formatCode>
                <c:ptCount val="13"/>
                <c:pt idx="0">
                  <c:v>43</c:v>
                </c:pt>
                <c:pt idx="1">
                  <c:v>44</c:v>
                </c:pt>
                <c:pt idx="2">
                  <c:v>45</c:v>
                </c:pt>
                <c:pt idx="3">
                  <c:v>46</c:v>
                </c:pt>
                <c:pt idx="4">
                  <c:v>47</c:v>
                </c:pt>
                <c:pt idx="5">
                  <c:v>48</c:v>
                </c:pt>
                <c:pt idx="6">
                  <c:v>49</c:v>
                </c:pt>
                <c:pt idx="7">
                  <c:v>50</c:v>
                </c:pt>
                <c:pt idx="8">
                  <c:v>51</c:v>
                </c:pt>
                <c:pt idx="9">
                  <c:v>52</c:v>
                </c:pt>
                <c:pt idx="10">
                  <c:v>53</c:v>
                </c:pt>
                <c:pt idx="11">
                  <c:v>1</c:v>
                </c:pt>
                <c:pt idx="12">
                  <c:v>2</c:v>
                </c:pt>
              </c:numCache>
            </c:numRef>
          </c:cat>
          <c:val>
            <c:numRef>
              <c:f>'[SWE Burndown-Chart_neu .xlsx]Tabelle1'!$C$5:$C$17</c:f>
              <c:numCache>
                <c:formatCode>General</c:formatCode>
                <c:ptCount val="13"/>
                <c:pt idx="0">
                  <c:v>600</c:v>
                </c:pt>
                <c:pt idx="1">
                  <c:v>600</c:v>
                </c:pt>
                <c:pt idx="2">
                  <c:v>600</c:v>
                </c:pt>
                <c:pt idx="3">
                  <c:v>571</c:v>
                </c:pt>
                <c:pt idx="4">
                  <c:v>544</c:v>
                </c:pt>
                <c:pt idx="5">
                  <c:v>521</c:v>
                </c:pt>
                <c:pt idx="6">
                  <c:v>113</c:v>
                </c:pt>
                <c:pt idx="7">
                  <c:v>134</c:v>
                </c:pt>
                <c:pt idx="8">
                  <c:v>102</c:v>
                </c:pt>
                <c:pt idx="9">
                  <c:v>89</c:v>
                </c:pt>
                <c:pt idx="10">
                  <c:v>70</c:v>
                </c:pt>
                <c:pt idx="11">
                  <c:v>15</c:v>
                </c:pt>
                <c:pt idx="12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CB0-4F2E-BDC5-453B78FE639C}"/>
            </c:ext>
          </c:extLst>
        </c:ser>
        <c:ser>
          <c:idx val="2"/>
          <c:order val="2"/>
          <c:tx>
            <c:strRef>
              <c:f>'[SWE Burndown-Chart_neu .xlsx]Tabelle1'!$D$4</c:f>
              <c:strCache>
                <c:ptCount val="1"/>
                <c:pt idx="0">
                  <c:v>Ist-Aufwand</c:v>
                </c:pt>
              </c:strCache>
            </c:strRef>
          </c:tx>
          <c:spPr>
            <a:ln w="28800">
              <a:solidFill>
                <a:srgbClr val="FFD320"/>
              </a:solidFill>
              <a:round/>
            </a:ln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1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[SWE Burndown-Chart_neu .xlsx]Tabelle1'!$A$5:$A$17</c:f>
              <c:numCache>
                <c:formatCode>General</c:formatCode>
                <c:ptCount val="13"/>
                <c:pt idx="0">
                  <c:v>43</c:v>
                </c:pt>
                <c:pt idx="1">
                  <c:v>44</c:v>
                </c:pt>
                <c:pt idx="2">
                  <c:v>45</c:v>
                </c:pt>
                <c:pt idx="3">
                  <c:v>46</c:v>
                </c:pt>
                <c:pt idx="4">
                  <c:v>47</c:v>
                </c:pt>
                <c:pt idx="5">
                  <c:v>48</c:v>
                </c:pt>
                <c:pt idx="6">
                  <c:v>49</c:v>
                </c:pt>
                <c:pt idx="7">
                  <c:v>50</c:v>
                </c:pt>
                <c:pt idx="8">
                  <c:v>51</c:v>
                </c:pt>
                <c:pt idx="9">
                  <c:v>52</c:v>
                </c:pt>
                <c:pt idx="10">
                  <c:v>53</c:v>
                </c:pt>
                <c:pt idx="11">
                  <c:v>1</c:v>
                </c:pt>
                <c:pt idx="12">
                  <c:v>2</c:v>
                </c:pt>
              </c:numCache>
            </c:numRef>
          </c:cat>
          <c:val>
            <c:numRef>
              <c:f>'[SWE Burndown-Chart_neu .xlsx]Tabelle1'!$D$5:$D$17</c:f>
              <c:numCache>
                <c:formatCode>General</c:formatCode>
                <c:ptCount val="13"/>
                <c:pt idx="0">
                  <c:v>0.5</c:v>
                </c:pt>
                <c:pt idx="1">
                  <c:v>9.5</c:v>
                </c:pt>
                <c:pt idx="2">
                  <c:v>22.5</c:v>
                </c:pt>
                <c:pt idx="3">
                  <c:v>29</c:v>
                </c:pt>
                <c:pt idx="4">
                  <c:v>65.5</c:v>
                </c:pt>
                <c:pt idx="5">
                  <c:v>83.5</c:v>
                </c:pt>
                <c:pt idx="6">
                  <c:v>104.5</c:v>
                </c:pt>
                <c:pt idx="7">
                  <c:v>134</c:v>
                </c:pt>
                <c:pt idx="8">
                  <c:v>156</c:v>
                </c:pt>
                <c:pt idx="9">
                  <c:v>197.5</c:v>
                </c:pt>
                <c:pt idx="10">
                  <c:v>241</c:v>
                </c:pt>
                <c:pt idx="11">
                  <c:v>291</c:v>
                </c:pt>
                <c:pt idx="12">
                  <c:v>3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CB0-4F2E-BDC5-453B78FE639C}"/>
            </c:ext>
          </c:extLst>
        </c:ser>
        <c:ser>
          <c:idx val="3"/>
          <c:order val="3"/>
          <c:tx>
            <c:strRef>
              <c:f>'[SWE Burndown-Chart_neu .xlsx]Tabelle1'!$E$4</c:f>
              <c:strCache>
                <c:ptCount val="1"/>
                <c:pt idx="0">
                  <c:v>Gesamtaufwand</c:v>
                </c:pt>
              </c:strCache>
            </c:strRef>
          </c:tx>
          <c:spPr>
            <a:ln w="28800">
              <a:solidFill>
                <a:srgbClr val="579D1C"/>
              </a:solidFill>
              <a:round/>
            </a:ln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1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[SWE Burndown-Chart_neu .xlsx]Tabelle1'!$A$5:$A$17</c:f>
              <c:numCache>
                <c:formatCode>General</c:formatCode>
                <c:ptCount val="13"/>
                <c:pt idx="0">
                  <c:v>43</c:v>
                </c:pt>
                <c:pt idx="1">
                  <c:v>44</c:v>
                </c:pt>
                <c:pt idx="2">
                  <c:v>45</c:v>
                </c:pt>
                <c:pt idx="3">
                  <c:v>46</c:v>
                </c:pt>
                <c:pt idx="4">
                  <c:v>47</c:v>
                </c:pt>
                <c:pt idx="5">
                  <c:v>48</c:v>
                </c:pt>
                <c:pt idx="6">
                  <c:v>49</c:v>
                </c:pt>
                <c:pt idx="7">
                  <c:v>50</c:v>
                </c:pt>
                <c:pt idx="8">
                  <c:v>51</c:v>
                </c:pt>
                <c:pt idx="9">
                  <c:v>52</c:v>
                </c:pt>
                <c:pt idx="10">
                  <c:v>53</c:v>
                </c:pt>
                <c:pt idx="11">
                  <c:v>1</c:v>
                </c:pt>
                <c:pt idx="12">
                  <c:v>2</c:v>
                </c:pt>
              </c:numCache>
            </c:numRef>
          </c:cat>
          <c:val>
            <c:numRef>
              <c:f>'[SWE Burndown-Chart_neu .xlsx]Tabelle1'!$E$5:$E$17</c:f>
              <c:numCache>
                <c:formatCode>General</c:formatCode>
                <c:ptCount val="13"/>
                <c:pt idx="0">
                  <c:v>600.5</c:v>
                </c:pt>
                <c:pt idx="1">
                  <c:v>609.5</c:v>
                </c:pt>
                <c:pt idx="2">
                  <c:v>622.5</c:v>
                </c:pt>
                <c:pt idx="3">
                  <c:v>600</c:v>
                </c:pt>
                <c:pt idx="4">
                  <c:v>609.5</c:v>
                </c:pt>
                <c:pt idx="5">
                  <c:v>604.5</c:v>
                </c:pt>
                <c:pt idx="6">
                  <c:v>217.5</c:v>
                </c:pt>
                <c:pt idx="7">
                  <c:v>268</c:v>
                </c:pt>
                <c:pt idx="8">
                  <c:v>258</c:v>
                </c:pt>
                <c:pt idx="9">
                  <c:v>286.5</c:v>
                </c:pt>
                <c:pt idx="10">
                  <c:v>311</c:v>
                </c:pt>
                <c:pt idx="11">
                  <c:v>306</c:v>
                </c:pt>
                <c:pt idx="12">
                  <c:v>3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CB0-4F2E-BDC5-453B78FE639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hiLowLines>
          <c:spPr>
            <a:ln>
              <a:noFill/>
            </a:ln>
          </c:spPr>
        </c:hiLowLines>
        <c:smooth val="0"/>
        <c:axId val="41193324"/>
        <c:axId val="4010517"/>
      </c:lineChart>
      <c:catAx>
        <c:axId val="41193324"/>
        <c:scaling>
          <c:orientation val="minMax"/>
        </c:scaling>
        <c:delete val="0"/>
        <c:axPos val="b"/>
        <c:majorGridlines>
          <c:spPr>
            <a:ln>
              <a:solidFill>
                <a:srgbClr val="B3B3B3"/>
              </a:solidFill>
            </a:ln>
          </c:spPr>
        </c:majorGridlines>
        <c:title>
          <c:tx>
            <c:rich>
              <a:bodyPr rot="0"/>
              <a:lstStyle/>
              <a:p>
                <a:pPr>
                  <a:defRPr sz="900" b="0" strike="noStrike" spc="-1">
                    <a:latin typeface="Arial"/>
                  </a:defRPr>
                </a:pPr>
                <a:r>
                  <a:rPr lang="de-DE" sz="900" b="0" strike="noStrike" spc="-1">
                    <a:latin typeface="Arial"/>
                  </a:rPr>
                  <a:t>Kalenderwoche</a:t>
                </a:r>
              </a:p>
            </c:rich>
          </c:tx>
          <c:overlay val="0"/>
        </c:title>
        <c:numFmt formatCode="General" sourceLinked="1"/>
        <c:majorTickMark val="out"/>
        <c:minorTickMark val="none"/>
        <c:tickLblPos val="nextTo"/>
        <c:spPr>
          <a:ln>
            <a:solidFill>
              <a:srgbClr val="B3B3B3"/>
            </a:solidFill>
          </a:ln>
        </c:spPr>
        <c:txPr>
          <a:bodyPr/>
          <a:lstStyle/>
          <a:p>
            <a:pPr>
              <a:defRPr sz="1000" b="0" strike="noStrike" spc="-1">
                <a:latin typeface="Arial"/>
              </a:defRPr>
            </a:pPr>
            <a:endParaRPr lang="de-DE"/>
          </a:p>
        </c:txPr>
        <c:crossAx val="4010517"/>
        <c:crosses val="autoZero"/>
        <c:auto val="1"/>
        <c:lblAlgn val="ctr"/>
        <c:lblOffset val="100"/>
        <c:noMultiLvlLbl val="1"/>
      </c:catAx>
      <c:valAx>
        <c:axId val="4010517"/>
        <c:scaling>
          <c:orientation val="minMax"/>
        </c:scaling>
        <c:delete val="0"/>
        <c:axPos val="l"/>
        <c:majorGridlines>
          <c:spPr>
            <a:ln>
              <a:solidFill>
                <a:srgbClr val="B3B3B3"/>
              </a:solidFill>
            </a:ln>
          </c:spPr>
        </c:majorGridlines>
        <c:title>
          <c:tx>
            <c:rich>
              <a:bodyPr rot="-5400000"/>
              <a:lstStyle/>
              <a:p>
                <a:pPr>
                  <a:defRPr sz="900" b="0" strike="noStrike" spc="-1">
                    <a:latin typeface="Arial"/>
                  </a:defRPr>
                </a:pPr>
                <a:r>
                  <a:rPr lang="de-DE" sz="900" b="0" strike="noStrike" spc="-1">
                    <a:latin typeface="Arial"/>
                  </a:rPr>
                  <a:t>Aufwand [h]</a:t>
                </a:r>
              </a:p>
            </c:rich>
          </c:tx>
          <c:overlay val="0"/>
        </c:title>
        <c:numFmt formatCode="General" sourceLinked="1"/>
        <c:majorTickMark val="out"/>
        <c:minorTickMark val="none"/>
        <c:tickLblPos val="nextTo"/>
        <c:spPr>
          <a:ln>
            <a:solidFill>
              <a:srgbClr val="B3B3B3"/>
            </a:solidFill>
          </a:ln>
        </c:spPr>
        <c:txPr>
          <a:bodyPr/>
          <a:lstStyle/>
          <a:p>
            <a:pPr>
              <a:defRPr sz="1000" b="0" strike="noStrike" spc="-1">
                <a:latin typeface="Arial"/>
              </a:defRPr>
            </a:pPr>
            <a:endParaRPr lang="de-DE"/>
          </a:p>
        </c:txPr>
        <c:crossAx val="41193324"/>
        <c:crosses val="autoZero"/>
        <c:crossBetween val="midCat"/>
      </c:valAx>
      <c:spPr>
        <a:noFill/>
        <a:ln>
          <a:solidFill>
            <a:srgbClr val="B3B3B3"/>
          </a:solidFill>
        </a:ln>
      </c:spPr>
    </c:plotArea>
    <c:legend>
      <c:legendPos val="b"/>
      <c:overlay val="0"/>
      <c:spPr>
        <a:noFill/>
        <a:ln>
          <a:noFill/>
        </a:ln>
      </c:spPr>
    </c:legend>
    <c:plotVisOnly val="1"/>
    <c:dispBlanksAs val="gap"/>
    <c:showDLblsOverMax val="1"/>
  </c:chart>
  <c:spPr>
    <a:solidFill>
      <a:srgbClr val="FFFFFF"/>
    </a:solidFill>
    <a:ln>
      <a:noFill/>
    </a:ln>
  </c:sp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128" b="1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e-DE"/>
              <a:t>Aufwand: Testen und Bugs beheben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28" b="1" i="0" u="none" strike="noStrike" kern="1200" cap="all" spc="120" normalizeH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Tabelle1!$A$2</c:f>
              <c:strCache>
                <c:ptCount val="1"/>
                <c:pt idx="0">
                  <c:v>Testen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Tabelle1!$B$1:$C$1</c:f>
              <c:strCache>
                <c:ptCount val="2"/>
                <c:pt idx="0">
                  <c:v>Geschätzt (in Stunden)</c:v>
                </c:pt>
                <c:pt idx="1">
                  <c:v>In Echt (In Stunden)</c:v>
                </c:pt>
              </c:strCache>
            </c:strRef>
          </c:cat>
          <c:val>
            <c:numRef>
              <c:f>Tabelle1!$B$2:$C$2</c:f>
              <c:numCache>
                <c:formatCode>General</c:formatCode>
                <c:ptCount val="2"/>
                <c:pt idx="0">
                  <c:v>12</c:v>
                </c:pt>
                <c:pt idx="1">
                  <c:v>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0C8-49A1-B0D2-E305DC3561C6}"/>
            </c:ext>
          </c:extLst>
        </c:ser>
        <c:ser>
          <c:idx val="1"/>
          <c:order val="1"/>
          <c:tx>
            <c:strRef>
              <c:f>Tabelle1!$A$3</c:f>
              <c:strCache>
                <c:ptCount val="1"/>
                <c:pt idx="0">
                  <c:v>Bugs beheben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Tabelle1!$B$1:$C$1</c:f>
              <c:strCache>
                <c:ptCount val="2"/>
                <c:pt idx="0">
                  <c:v>Geschätzt (in Stunden)</c:v>
                </c:pt>
                <c:pt idx="1">
                  <c:v>In Echt (In Stunden)</c:v>
                </c:pt>
              </c:strCache>
            </c:strRef>
          </c:cat>
          <c:val>
            <c:numRef>
              <c:f>Tabelle1!$B$3:$C$3</c:f>
              <c:numCache>
                <c:formatCode>General</c:formatCode>
                <c:ptCount val="2"/>
                <c:pt idx="0">
                  <c:v>15</c:v>
                </c:pt>
                <c:pt idx="1">
                  <c:v>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0C8-49A1-B0D2-E305DC3561C6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79"/>
        <c:overlap val="100"/>
        <c:axId val="914024143"/>
        <c:axId val="914034959"/>
      </c:barChart>
      <c:catAx>
        <c:axId val="914024143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64" b="0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914034959"/>
        <c:crosses val="autoZero"/>
        <c:auto val="1"/>
        <c:lblAlgn val="ctr"/>
        <c:lblOffset val="100"/>
        <c:noMultiLvlLbl val="0"/>
      </c:catAx>
      <c:valAx>
        <c:axId val="914034959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91402414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Tabelle1!$A$2</c:f>
              <c:strCache>
                <c:ptCount val="1"/>
                <c:pt idx="0">
                  <c:v>E-Mail verfasst</c:v>
                </c:pt>
              </c:strCache>
            </c:strRef>
          </c:tx>
          <c:spPr>
            <a:solidFill>
              <a:schemeClr val="accent2">
                <a:shade val="42000"/>
              </a:schemeClr>
            </a:solidFill>
            <a:ln>
              <a:noFill/>
            </a:ln>
            <a:effectLst/>
          </c:spPr>
          <c:invertIfNegative val="0"/>
          <c:cat>
            <c:strRef>
              <c:f>Tabelle1!$B$1:$C$1</c:f>
              <c:strCache>
                <c:ptCount val="2"/>
                <c:pt idx="0">
                  <c:v>Bearbeitet (in Minuten)</c:v>
                </c:pt>
                <c:pt idx="1">
                  <c:v>Eingetragen (in Minuten)</c:v>
                </c:pt>
              </c:strCache>
            </c:strRef>
          </c:cat>
          <c:val>
            <c:numRef>
              <c:f>Tabelle1!$B$2:$C$2</c:f>
              <c:numCache>
                <c:formatCode>General</c:formatCode>
                <c:ptCount val="2"/>
                <c:pt idx="0">
                  <c:v>12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CB0-4E9B-89FD-E7056D5FA855}"/>
            </c:ext>
          </c:extLst>
        </c:ser>
        <c:ser>
          <c:idx val="1"/>
          <c:order val="1"/>
          <c:tx>
            <c:strRef>
              <c:f>Tabelle1!$A$3</c:f>
              <c:strCache>
                <c:ptCount val="1"/>
                <c:pt idx="0">
                  <c:v>Bug XY behoben</c:v>
                </c:pt>
              </c:strCache>
            </c:strRef>
          </c:tx>
          <c:spPr>
            <a:solidFill>
              <a:schemeClr val="accent2">
                <a:shade val="55000"/>
              </a:schemeClr>
            </a:solidFill>
            <a:ln>
              <a:noFill/>
            </a:ln>
            <a:effectLst/>
          </c:spPr>
          <c:invertIfNegative val="0"/>
          <c:cat>
            <c:strRef>
              <c:f>Tabelle1!$B$1:$C$1</c:f>
              <c:strCache>
                <c:ptCount val="2"/>
                <c:pt idx="0">
                  <c:v>Bearbeitet (in Minuten)</c:v>
                </c:pt>
                <c:pt idx="1">
                  <c:v>Eingetragen (in Minuten)</c:v>
                </c:pt>
              </c:strCache>
            </c:strRef>
          </c:cat>
          <c:val>
            <c:numRef>
              <c:f>Tabelle1!$B$3:$C$3</c:f>
              <c:numCache>
                <c:formatCode>General</c:formatCode>
                <c:ptCount val="2"/>
                <c:pt idx="0">
                  <c:v>45</c:v>
                </c:pt>
                <c:pt idx="1">
                  <c:v>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CB0-4E9B-89FD-E7056D5FA855}"/>
            </c:ext>
          </c:extLst>
        </c:ser>
        <c:ser>
          <c:idx val="2"/>
          <c:order val="2"/>
          <c:tx>
            <c:strRef>
              <c:f>Tabelle1!$A$4</c:f>
              <c:strCache>
                <c:ptCount val="1"/>
                <c:pt idx="0">
                  <c:v>Nachfolge Task eingefügt</c:v>
                </c:pt>
              </c:strCache>
            </c:strRef>
          </c:tx>
          <c:spPr>
            <a:solidFill>
              <a:schemeClr val="accent2">
                <a:shade val="68000"/>
              </a:schemeClr>
            </a:solidFill>
            <a:ln>
              <a:noFill/>
            </a:ln>
            <a:effectLst/>
          </c:spPr>
          <c:invertIfNegative val="0"/>
          <c:cat>
            <c:strRef>
              <c:f>Tabelle1!$B$1:$C$1</c:f>
              <c:strCache>
                <c:ptCount val="2"/>
                <c:pt idx="0">
                  <c:v>Bearbeitet (in Minuten)</c:v>
                </c:pt>
                <c:pt idx="1">
                  <c:v>Eingetragen (in Minuten)</c:v>
                </c:pt>
              </c:strCache>
            </c:strRef>
          </c:cat>
          <c:val>
            <c:numRef>
              <c:f>Tabelle1!$B$4:$C$4</c:f>
              <c:numCache>
                <c:formatCode>General</c:formatCode>
                <c:ptCount val="2"/>
                <c:pt idx="0">
                  <c:v>6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CB0-4E9B-89FD-E7056D5FA855}"/>
            </c:ext>
          </c:extLst>
        </c:ser>
        <c:ser>
          <c:idx val="3"/>
          <c:order val="3"/>
          <c:tx>
            <c:strRef>
              <c:f>Tabelle1!$A$5</c:f>
              <c:strCache>
                <c:ptCount val="1"/>
                <c:pt idx="0">
                  <c:v>Teambesprechung</c:v>
                </c:pt>
              </c:strCache>
            </c:strRef>
          </c:tx>
          <c:spPr>
            <a:solidFill>
              <a:schemeClr val="accent2">
                <a:shade val="80000"/>
              </a:schemeClr>
            </a:solidFill>
            <a:ln>
              <a:noFill/>
            </a:ln>
            <a:effectLst/>
          </c:spPr>
          <c:invertIfNegative val="0"/>
          <c:cat>
            <c:strRef>
              <c:f>Tabelle1!$B$1:$C$1</c:f>
              <c:strCache>
                <c:ptCount val="2"/>
                <c:pt idx="0">
                  <c:v>Bearbeitet (in Minuten)</c:v>
                </c:pt>
                <c:pt idx="1">
                  <c:v>Eingetragen (in Minuten)</c:v>
                </c:pt>
              </c:strCache>
            </c:strRef>
          </c:cat>
          <c:val>
            <c:numRef>
              <c:f>Tabelle1!$B$5:$C$5</c:f>
              <c:numCache>
                <c:formatCode>General</c:formatCode>
                <c:ptCount val="2"/>
                <c:pt idx="0">
                  <c:v>120</c:v>
                </c:pt>
                <c:pt idx="1">
                  <c:v>1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CB0-4E9B-89FD-E7056D5FA855}"/>
            </c:ext>
          </c:extLst>
        </c:ser>
        <c:ser>
          <c:idx val="4"/>
          <c:order val="4"/>
          <c:tx>
            <c:strRef>
              <c:f>Tabelle1!$A$6</c:f>
              <c:strCache>
                <c:ptCount val="1"/>
                <c:pt idx="0">
                  <c:v>Protokoll schreiben</c:v>
                </c:pt>
              </c:strCache>
            </c:strRef>
          </c:tx>
          <c:spPr>
            <a:solidFill>
              <a:schemeClr val="accent2">
                <a:shade val="93000"/>
              </a:schemeClr>
            </a:solidFill>
            <a:ln>
              <a:noFill/>
            </a:ln>
            <a:effectLst/>
          </c:spPr>
          <c:invertIfNegative val="0"/>
          <c:cat>
            <c:strRef>
              <c:f>Tabelle1!$B$1:$C$1</c:f>
              <c:strCache>
                <c:ptCount val="2"/>
                <c:pt idx="0">
                  <c:v>Bearbeitet (in Minuten)</c:v>
                </c:pt>
                <c:pt idx="1">
                  <c:v>Eingetragen (in Minuten)</c:v>
                </c:pt>
              </c:strCache>
            </c:strRef>
          </c:cat>
          <c:val>
            <c:numRef>
              <c:f>Tabelle1!$B$6:$C$6</c:f>
              <c:numCache>
                <c:formatCode>General</c:formatCode>
                <c:ptCount val="2"/>
                <c:pt idx="0">
                  <c:v>30</c:v>
                </c:pt>
                <c:pt idx="1">
                  <c:v>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CB0-4E9B-89FD-E7056D5FA855}"/>
            </c:ext>
          </c:extLst>
        </c:ser>
        <c:ser>
          <c:idx val="5"/>
          <c:order val="5"/>
          <c:tx>
            <c:strRef>
              <c:f>Tabelle1!$A$7</c:f>
              <c:strCache>
                <c:ptCount val="1"/>
                <c:pt idx="0">
                  <c:v>Fehler im Protokoll</c:v>
                </c:pt>
              </c:strCache>
            </c:strRef>
          </c:tx>
          <c:spPr>
            <a:solidFill>
              <a:schemeClr val="accent2">
                <a:tint val="94000"/>
              </a:schemeClr>
            </a:solidFill>
            <a:ln>
              <a:noFill/>
            </a:ln>
            <a:effectLst/>
          </c:spPr>
          <c:invertIfNegative val="0"/>
          <c:cat>
            <c:strRef>
              <c:f>Tabelle1!$B$1:$C$1</c:f>
              <c:strCache>
                <c:ptCount val="2"/>
                <c:pt idx="0">
                  <c:v>Bearbeitet (in Minuten)</c:v>
                </c:pt>
                <c:pt idx="1">
                  <c:v>Eingetragen (in Minuten)</c:v>
                </c:pt>
              </c:strCache>
            </c:strRef>
          </c:cat>
          <c:val>
            <c:numRef>
              <c:f>Tabelle1!$B$7:$C$7</c:f>
              <c:numCache>
                <c:formatCode>General</c:formatCode>
                <c:ptCount val="2"/>
                <c:pt idx="0">
                  <c:v>7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8CB0-4E9B-89FD-E7056D5FA855}"/>
            </c:ext>
          </c:extLst>
        </c:ser>
        <c:ser>
          <c:idx val="6"/>
          <c:order val="6"/>
          <c:tx>
            <c:strRef>
              <c:f>Tabelle1!$A$8</c:f>
              <c:strCache>
                <c:ptCount val="1"/>
                <c:pt idx="0">
                  <c:v>Auf Mails antworten</c:v>
                </c:pt>
              </c:strCache>
            </c:strRef>
          </c:tx>
          <c:spPr>
            <a:solidFill>
              <a:schemeClr val="accent2">
                <a:tint val="81000"/>
              </a:schemeClr>
            </a:solidFill>
            <a:ln>
              <a:noFill/>
            </a:ln>
            <a:effectLst/>
          </c:spPr>
          <c:invertIfNegative val="0"/>
          <c:cat>
            <c:strRef>
              <c:f>Tabelle1!$B$1:$C$1</c:f>
              <c:strCache>
                <c:ptCount val="2"/>
                <c:pt idx="0">
                  <c:v>Bearbeitet (in Minuten)</c:v>
                </c:pt>
                <c:pt idx="1">
                  <c:v>Eingetragen (in Minuten)</c:v>
                </c:pt>
              </c:strCache>
            </c:strRef>
          </c:cat>
          <c:val>
            <c:numRef>
              <c:f>Tabelle1!$B$8:$C$8</c:f>
              <c:numCache>
                <c:formatCode>General</c:formatCode>
                <c:ptCount val="2"/>
                <c:pt idx="0">
                  <c:v>15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8CB0-4E9B-89FD-E7056D5FA855}"/>
            </c:ext>
          </c:extLst>
        </c:ser>
        <c:ser>
          <c:idx val="7"/>
          <c:order val="7"/>
          <c:tx>
            <c:strRef>
              <c:f>Tabelle1!$A$9</c:f>
              <c:strCache>
                <c:ptCount val="1"/>
                <c:pt idx="0">
                  <c:v>Einem Kollegen unterstützen</c:v>
                </c:pt>
              </c:strCache>
            </c:strRef>
          </c:tx>
          <c:spPr>
            <a:solidFill>
              <a:schemeClr val="accent2">
                <a:tint val="69000"/>
              </a:schemeClr>
            </a:solidFill>
            <a:ln>
              <a:noFill/>
            </a:ln>
            <a:effectLst/>
          </c:spPr>
          <c:invertIfNegative val="0"/>
          <c:cat>
            <c:strRef>
              <c:f>Tabelle1!$B$1:$C$1</c:f>
              <c:strCache>
                <c:ptCount val="2"/>
                <c:pt idx="0">
                  <c:v>Bearbeitet (in Minuten)</c:v>
                </c:pt>
                <c:pt idx="1">
                  <c:v>Eingetragen (in Minuten)</c:v>
                </c:pt>
              </c:strCache>
            </c:strRef>
          </c:cat>
          <c:val>
            <c:numRef>
              <c:f>Tabelle1!$B$9:$C$9</c:f>
              <c:numCache>
                <c:formatCode>General</c:formatCode>
                <c:ptCount val="2"/>
                <c:pt idx="0">
                  <c:v>50</c:v>
                </c:pt>
                <c:pt idx="1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8CB0-4E9B-89FD-E7056D5FA855}"/>
            </c:ext>
          </c:extLst>
        </c:ser>
        <c:ser>
          <c:idx val="8"/>
          <c:order val="8"/>
          <c:tx>
            <c:strRef>
              <c:f>Tabelle1!$A$10</c:f>
              <c:strCache>
                <c:ptCount val="1"/>
                <c:pt idx="0">
                  <c:v>Bericht ausfüllen</c:v>
                </c:pt>
              </c:strCache>
            </c:strRef>
          </c:tx>
          <c:spPr>
            <a:solidFill>
              <a:schemeClr val="accent2">
                <a:tint val="56000"/>
              </a:schemeClr>
            </a:solidFill>
            <a:ln>
              <a:noFill/>
            </a:ln>
            <a:effectLst/>
          </c:spPr>
          <c:invertIfNegative val="0"/>
          <c:cat>
            <c:strRef>
              <c:f>Tabelle1!$B$1:$C$1</c:f>
              <c:strCache>
                <c:ptCount val="2"/>
                <c:pt idx="0">
                  <c:v>Bearbeitet (in Minuten)</c:v>
                </c:pt>
                <c:pt idx="1">
                  <c:v>Eingetragen (in Minuten)</c:v>
                </c:pt>
              </c:strCache>
            </c:strRef>
          </c:cat>
          <c:val>
            <c:numRef>
              <c:f>Tabelle1!$B$10:$C$10</c:f>
              <c:numCache>
                <c:formatCode>General</c:formatCode>
                <c:ptCount val="2"/>
                <c:pt idx="0">
                  <c:v>20</c:v>
                </c:pt>
                <c:pt idx="1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8CB0-4E9B-89FD-E7056D5FA855}"/>
            </c:ext>
          </c:extLst>
        </c:ser>
        <c:ser>
          <c:idx val="9"/>
          <c:order val="9"/>
          <c:tx>
            <c:strRef>
              <c:f>Tabelle1!$A$11</c:f>
              <c:strCache>
                <c:ptCount val="1"/>
                <c:pt idx="0">
                  <c:v>Bericht an die Kollegen versenden</c:v>
                </c:pt>
              </c:strCache>
            </c:strRef>
          </c:tx>
          <c:spPr>
            <a:solidFill>
              <a:schemeClr val="accent2">
                <a:tint val="43000"/>
              </a:schemeClr>
            </a:solidFill>
            <a:ln>
              <a:noFill/>
            </a:ln>
            <a:effectLst/>
          </c:spPr>
          <c:invertIfNegative val="0"/>
          <c:cat>
            <c:strRef>
              <c:f>Tabelle1!$B$1:$C$1</c:f>
              <c:strCache>
                <c:ptCount val="2"/>
                <c:pt idx="0">
                  <c:v>Bearbeitet (in Minuten)</c:v>
                </c:pt>
                <c:pt idx="1">
                  <c:v>Eingetragen (in Minuten)</c:v>
                </c:pt>
              </c:strCache>
            </c:strRef>
          </c:cat>
          <c:val>
            <c:numRef>
              <c:f>Tabelle1!$B$11:$C$11</c:f>
              <c:numCache>
                <c:formatCode>General</c:formatCode>
                <c:ptCount val="2"/>
                <c:pt idx="0">
                  <c:v>6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8CB0-4E9B-89FD-E7056D5FA85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068741471"/>
        <c:axId val="2068740639"/>
      </c:barChart>
      <c:catAx>
        <c:axId val="206874147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2068740639"/>
        <c:crosses val="autoZero"/>
        <c:auto val="1"/>
        <c:lblAlgn val="ctr"/>
        <c:lblOffset val="100"/>
        <c:noMultiLvlLbl val="0"/>
      </c:catAx>
      <c:valAx>
        <c:axId val="206874063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206874147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withinLinear" id="15">
  <a:schemeClr val="accent2"/>
</cs:colorStyle>
</file>

<file path=ppt/charts/style1.xml><?xml version="1.0" encoding="utf-8"?>
<cs:chartStyle xmlns:cs="http://schemas.microsoft.com/office/drawing/2012/chartStyle" xmlns:a="http://schemas.openxmlformats.org/drawingml/2006/main" id="29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64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0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064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3EAECBD-F12A-4C65-ACE8-B86F6DA10D9C}" type="datetimeFigureOut">
              <a:rPr lang="de-DE"/>
              <a:t>20.01.2021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352B867-D065-4DED-8D93-74F57AC7C93E}" type="slidenum">
              <a:rPr lang="de-DE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650418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Folienbildplatzhalter 1">
            <a:extLst>
              <a:ext uri="{FF2B5EF4-FFF2-40B4-BE49-F238E27FC236}">
                <a16:creationId xmlns:a16="http://schemas.microsoft.com/office/drawing/2014/main" id="{CF04D371-4D26-428E-B976-4A492C8E7862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4339" name="Notizenplatzhalter 2">
            <a:extLst>
              <a:ext uri="{FF2B5EF4-FFF2-40B4-BE49-F238E27FC236}">
                <a16:creationId xmlns:a16="http://schemas.microsoft.com/office/drawing/2014/main" id="{AC0115F5-FAE3-41F7-AAB3-07FF46D8BB75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de-DE" altLang="de-DE"/>
          </a:p>
        </p:txBody>
      </p:sp>
      <p:sp>
        <p:nvSpPr>
          <p:cNvPr id="14340" name="Foliennummernplatzhalter 3">
            <a:extLst>
              <a:ext uri="{FF2B5EF4-FFF2-40B4-BE49-F238E27FC236}">
                <a16:creationId xmlns:a16="http://schemas.microsoft.com/office/drawing/2014/main" id="{70F57266-AE9C-4A44-A62B-56292514981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A51CF804-82FB-4E3D-9AD6-CDCD5C8153EA}" type="slidenum">
              <a:rPr lang="de-DE" altLang="de-DE">
                <a:latin typeface="Arial" panose="020B0604020202020204" pitchFamily="34" charset="0"/>
              </a:rPr>
              <a:pPr eaLnBrk="1" hangingPunct="1">
                <a:spcBef>
                  <a:spcPct val="0"/>
                </a:spcBef>
              </a:pPr>
              <a:t>9</a:t>
            </a:fld>
            <a:endParaRPr lang="de-DE" altLang="de-DE">
              <a:latin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Folienbildplatzhalter 1">
            <a:extLst>
              <a:ext uri="{FF2B5EF4-FFF2-40B4-BE49-F238E27FC236}">
                <a16:creationId xmlns:a16="http://schemas.microsoft.com/office/drawing/2014/main" id="{CF04D371-4D26-428E-B976-4A492C8E7862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4339" name="Notizenplatzhalter 2">
            <a:extLst>
              <a:ext uri="{FF2B5EF4-FFF2-40B4-BE49-F238E27FC236}">
                <a16:creationId xmlns:a16="http://schemas.microsoft.com/office/drawing/2014/main" id="{AC0115F5-FAE3-41F7-AAB3-07FF46D8BB75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de-DE" altLang="de-DE"/>
          </a:p>
        </p:txBody>
      </p:sp>
      <p:sp>
        <p:nvSpPr>
          <p:cNvPr id="14340" name="Foliennummernplatzhalter 3">
            <a:extLst>
              <a:ext uri="{FF2B5EF4-FFF2-40B4-BE49-F238E27FC236}">
                <a16:creationId xmlns:a16="http://schemas.microsoft.com/office/drawing/2014/main" id="{70F57266-AE9C-4A44-A62B-56292514981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A51CF804-82FB-4E3D-9AD6-CDCD5C8153EA}" type="slidenum">
              <a:rPr lang="de-DE" altLang="de-DE">
                <a:latin typeface="Arial" panose="020B0604020202020204" pitchFamily="34" charset="0"/>
              </a:rPr>
              <a:pPr eaLnBrk="1" hangingPunct="1">
                <a:spcBef>
                  <a:spcPct val="0"/>
                </a:spcBef>
              </a:pPr>
              <a:t>10</a:t>
            </a:fld>
            <a:endParaRPr lang="de-DE" altLang="de-DE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951525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Folienbildplatzhalter 1">
            <a:extLst>
              <a:ext uri="{FF2B5EF4-FFF2-40B4-BE49-F238E27FC236}">
                <a16:creationId xmlns:a16="http://schemas.microsoft.com/office/drawing/2014/main" id="{CF04D371-4D26-428E-B976-4A492C8E7862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4339" name="Notizenplatzhalter 2">
            <a:extLst>
              <a:ext uri="{FF2B5EF4-FFF2-40B4-BE49-F238E27FC236}">
                <a16:creationId xmlns:a16="http://schemas.microsoft.com/office/drawing/2014/main" id="{AC0115F5-FAE3-41F7-AAB3-07FF46D8BB75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de-DE" altLang="de-DE"/>
          </a:p>
        </p:txBody>
      </p:sp>
      <p:sp>
        <p:nvSpPr>
          <p:cNvPr id="14340" name="Foliennummernplatzhalter 3">
            <a:extLst>
              <a:ext uri="{FF2B5EF4-FFF2-40B4-BE49-F238E27FC236}">
                <a16:creationId xmlns:a16="http://schemas.microsoft.com/office/drawing/2014/main" id="{70F57266-AE9C-4A44-A62B-56292514981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A51CF804-82FB-4E3D-9AD6-CDCD5C8153EA}" type="slidenum">
              <a:rPr lang="de-DE" altLang="de-DE">
                <a:latin typeface="Arial" panose="020B0604020202020204" pitchFamily="34" charset="0"/>
              </a:rPr>
              <a:pPr eaLnBrk="1" hangingPunct="1">
                <a:spcBef>
                  <a:spcPct val="0"/>
                </a:spcBef>
              </a:pPr>
              <a:t>11</a:t>
            </a:fld>
            <a:endParaRPr lang="de-DE" altLang="de-DE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768555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Folienbildplatzhalter 1">
            <a:extLst>
              <a:ext uri="{FF2B5EF4-FFF2-40B4-BE49-F238E27FC236}">
                <a16:creationId xmlns:a16="http://schemas.microsoft.com/office/drawing/2014/main" id="{CF04D371-4D26-428E-B976-4A492C8E7862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4339" name="Notizenplatzhalter 2">
            <a:extLst>
              <a:ext uri="{FF2B5EF4-FFF2-40B4-BE49-F238E27FC236}">
                <a16:creationId xmlns:a16="http://schemas.microsoft.com/office/drawing/2014/main" id="{AC0115F5-FAE3-41F7-AAB3-07FF46D8BB75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de-DE" altLang="de-DE"/>
          </a:p>
        </p:txBody>
      </p:sp>
      <p:sp>
        <p:nvSpPr>
          <p:cNvPr id="14340" name="Foliennummernplatzhalter 3">
            <a:extLst>
              <a:ext uri="{FF2B5EF4-FFF2-40B4-BE49-F238E27FC236}">
                <a16:creationId xmlns:a16="http://schemas.microsoft.com/office/drawing/2014/main" id="{70F57266-AE9C-4A44-A62B-56292514981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A51CF804-82FB-4E3D-9AD6-CDCD5C8153EA}" type="slidenum">
              <a:rPr lang="de-DE" altLang="de-DE">
                <a:latin typeface="Arial" panose="020B0604020202020204" pitchFamily="34" charset="0"/>
              </a:rPr>
              <a:pPr eaLnBrk="1" hangingPunct="1">
                <a:spcBef>
                  <a:spcPct val="0"/>
                </a:spcBef>
              </a:pPr>
              <a:t>12</a:t>
            </a:fld>
            <a:endParaRPr lang="de-DE" altLang="de-DE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070053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Folienbildplatzhalter 1">
            <a:extLst>
              <a:ext uri="{FF2B5EF4-FFF2-40B4-BE49-F238E27FC236}">
                <a16:creationId xmlns:a16="http://schemas.microsoft.com/office/drawing/2014/main" id="{CF04D371-4D26-428E-B976-4A492C8E7862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4339" name="Notizenplatzhalter 2">
            <a:extLst>
              <a:ext uri="{FF2B5EF4-FFF2-40B4-BE49-F238E27FC236}">
                <a16:creationId xmlns:a16="http://schemas.microsoft.com/office/drawing/2014/main" id="{AC0115F5-FAE3-41F7-AAB3-07FF46D8BB75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de-DE" altLang="de-DE"/>
          </a:p>
        </p:txBody>
      </p:sp>
      <p:sp>
        <p:nvSpPr>
          <p:cNvPr id="14340" name="Foliennummernplatzhalter 3">
            <a:extLst>
              <a:ext uri="{FF2B5EF4-FFF2-40B4-BE49-F238E27FC236}">
                <a16:creationId xmlns:a16="http://schemas.microsoft.com/office/drawing/2014/main" id="{70F57266-AE9C-4A44-A62B-56292514981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A51CF804-82FB-4E3D-9AD6-CDCD5C8153EA}" type="slidenum">
              <a:rPr lang="de-DE" altLang="de-DE">
                <a:latin typeface="Arial" panose="020B0604020202020204" pitchFamily="34" charset="0"/>
              </a:rPr>
              <a:pPr eaLnBrk="1" hangingPunct="1">
                <a:spcBef>
                  <a:spcPct val="0"/>
                </a:spcBef>
              </a:pPr>
              <a:t>13</a:t>
            </a:fld>
            <a:endParaRPr lang="de-DE" altLang="de-DE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1234043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Folienbildplatzhalter 1">
            <a:extLst>
              <a:ext uri="{FF2B5EF4-FFF2-40B4-BE49-F238E27FC236}">
                <a16:creationId xmlns:a16="http://schemas.microsoft.com/office/drawing/2014/main" id="{CF04D371-4D26-428E-B976-4A492C8E7862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4339" name="Notizenplatzhalter 2">
            <a:extLst>
              <a:ext uri="{FF2B5EF4-FFF2-40B4-BE49-F238E27FC236}">
                <a16:creationId xmlns:a16="http://schemas.microsoft.com/office/drawing/2014/main" id="{AC0115F5-FAE3-41F7-AAB3-07FF46D8BB75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de-DE" altLang="de-DE"/>
          </a:p>
        </p:txBody>
      </p:sp>
      <p:sp>
        <p:nvSpPr>
          <p:cNvPr id="14340" name="Foliennummernplatzhalter 3">
            <a:extLst>
              <a:ext uri="{FF2B5EF4-FFF2-40B4-BE49-F238E27FC236}">
                <a16:creationId xmlns:a16="http://schemas.microsoft.com/office/drawing/2014/main" id="{70F57266-AE9C-4A44-A62B-56292514981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A51CF804-82FB-4E3D-9AD6-CDCD5C8153EA}" type="slidenum">
              <a:rPr lang="de-DE" altLang="de-DE">
                <a:latin typeface="Arial" panose="020B0604020202020204" pitchFamily="34" charset="0"/>
              </a:rPr>
              <a:pPr eaLnBrk="1" hangingPunct="1">
                <a:spcBef>
                  <a:spcPct val="0"/>
                </a:spcBef>
              </a:pPr>
              <a:t>14</a:t>
            </a:fld>
            <a:endParaRPr lang="de-DE" altLang="de-DE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1226298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Folienbildplatzhalter 1">
            <a:extLst>
              <a:ext uri="{FF2B5EF4-FFF2-40B4-BE49-F238E27FC236}">
                <a16:creationId xmlns:a16="http://schemas.microsoft.com/office/drawing/2014/main" id="{CF04D371-4D26-428E-B976-4A492C8E7862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4339" name="Notizenplatzhalter 2">
            <a:extLst>
              <a:ext uri="{FF2B5EF4-FFF2-40B4-BE49-F238E27FC236}">
                <a16:creationId xmlns:a16="http://schemas.microsoft.com/office/drawing/2014/main" id="{AC0115F5-FAE3-41F7-AAB3-07FF46D8BB75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de-DE" altLang="de-DE"/>
          </a:p>
        </p:txBody>
      </p:sp>
      <p:sp>
        <p:nvSpPr>
          <p:cNvPr id="14340" name="Foliennummernplatzhalter 3">
            <a:extLst>
              <a:ext uri="{FF2B5EF4-FFF2-40B4-BE49-F238E27FC236}">
                <a16:creationId xmlns:a16="http://schemas.microsoft.com/office/drawing/2014/main" id="{70F57266-AE9C-4A44-A62B-56292514981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A51CF804-82FB-4E3D-9AD6-CDCD5C8153EA}" type="slidenum">
              <a:rPr lang="de-DE" altLang="de-DE">
                <a:latin typeface="Arial" panose="020B0604020202020204" pitchFamily="34" charset="0"/>
              </a:rPr>
              <a:pPr eaLnBrk="1" hangingPunct="1">
                <a:spcBef>
                  <a:spcPct val="0"/>
                </a:spcBef>
              </a:pPr>
              <a:t>15</a:t>
            </a:fld>
            <a:endParaRPr lang="de-DE" altLang="de-DE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9990006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Folienbildplatzhalter 1">
            <a:extLst>
              <a:ext uri="{FF2B5EF4-FFF2-40B4-BE49-F238E27FC236}">
                <a16:creationId xmlns:a16="http://schemas.microsoft.com/office/drawing/2014/main" id="{CF04D371-4D26-428E-B976-4A492C8E7862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4339" name="Notizenplatzhalter 2">
            <a:extLst>
              <a:ext uri="{FF2B5EF4-FFF2-40B4-BE49-F238E27FC236}">
                <a16:creationId xmlns:a16="http://schemas.microsoft.com/office/drawing/2014/main" id="{AC0115F5-FAE3-41F7-AAB3-07FF46D8BB75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de-DE" altLang="de-DE"/>
          </a:p>
        </p:txBody>
      </p:sp>
      <p:sp>
        <p:nvSpPr>
          <p:cNvPr id="14340" name="Foliennummernplatzhalter 3">
            <a:extLst>
              <a:ext uri="{FF2B5EF4-FFF2-40B4-BE49-F238E27FC236}">
                <a16:creationId xmlns:a16="http://schemas.microsoft.com/office/drawing/2014/main" id="{70F57266-AE9C-4A44-A62B-56292514981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A51CF804-82FB-4E3D-9AD6-CDCD5C8153EA}" type="slidenum">
              <a:rPr lang="de-DE" altLang="de-DE">
                <a:latin typeface="Arial" panose="020B0604020202020204" pitchFamily="34" charset="0"/>
              </a:rPr>
              <a:pPr eaLnBrk="1" hangingPunct="1">
                <a:spcBef>
                  <a:spcPct val="0"/>
                </a:spcBef>
              </a:pPr>
              <a:t>17</a:t>
            </a:fld>
            <a:endParaRPr lang="de-DE" altLang="de-DE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437291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6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6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6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7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7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EB3054-B75A-4BD7-8B3E-8DC0F614FAF3}" type="datetimeFigureOut">
              <a:rPr lang="de-DE" smtClean="0"/>
              <a:t>20.01.2021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006FE-6571-4354-8775-F8708372C22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4316692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EB3054-B75A-4BD7-8B3E-8DC0F614FAF3}" type="datetimeFigureOut">
              <a:rPr lang="de-DE" smtClean="0"/>
              <a:t>20.01.2021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006FE-6571-4354-8775-F8708372C22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992067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EB3054-B75A-4BD7-8B3E-8DC0F614FAF3}" type="datetimeFigureOut">
              <a:rPr lang="de-DE" smtClean="0"/>
              <a:t>20.01.2021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006FE-6571-4354-8775-F8708372C22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0995895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ein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Gerade Verbindung 6">
            <a:extLst>
              <a:ext uri="{FF2B5EF4-FFF2-40B4-BE49-F238E27FC236}">
                <a16:creationId xmlns:a16="http://schemas.microsoft.com/office/drawing/2014/main" id="{3D3C8273-A8A3-4B17-8B91-E403B0660757}"/>
              </a:ext>
            </a:extLst>
          </p:cNvPr>
          <p:cNvCxnSpPr/>
          <p:nvPr/>
        </p:nvCxnSpPr>
        <p:spPr>
          <a:xfrm>
            <a:off x="381000" y="1344085"/>
            <a:ext cx="10752667" cy="2116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Gerade Verbindung 7">
            <a:extLst>
              <a:ext uri="{FF2B5EF4-FFF2-40B4-BE49-F238E27FC236}">
                <a16:creationId xmlns:a16="http://schemas.microsoft.com/office/drawing/2014/main" id="{EAEFE9AC-587F-4624-8204-B61BAA3441DC}"/>
              </a:ext>
            </a:extLst>
          </p:cNvPr>
          <p:cNvCxnSpPr/>
          <p:nvPr/>
        </p:nvCxnSpPr>
        <p:spPr>
          <a:xfrm>
            <a:off x="383117" y="6517218"/>
            <a:ext cx="10752667" cy="2116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feld 5">
            <a:extLst>
              <a:ext uri="{FF2B5EF4-FFF2-40B4-BE49-F238E27FC236}">
                <a16:creationId xmlns:a16="http://schemas.microsoft.com/office/drawing/2014/main" id="{E16A4764-764A-4508-AA88-CC51926908C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3118" y="6551085"/>
            <a:ext cx="11040533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de-DE" altLang="de-DE" sz="1100" b="1">
                <a:latin typeface="Verdana" panose="020B0604030504040204" pitchFamily="34" charset="0"/>
              </a:rPr>
              <a:t>© FH AACHEN </a:t>
            </a:r>
            <a:r>
              <a:rPr lang="de-DE" altLang="de-DE" sz="1100">
                <a:latin typeface="Verdana" panose="020B0604030504040204" pitchFamily="34" charset="0"/>
              </a:rPr>
              <a:t>UNIVERSITY OF APPLIED SCIENCES	</a:t>
            </a:r>
            <a:fld id="{5101AA96-FCF4-4734-834B-35F02FF290A8}" type="datetime4">
              <a:rPr lang="de-DE" altLang="de-DE" sz="1100">
                <a:latin typeface="Verdana" panose="020B0604030504040204" pitchFamily="34" charset="0"/>
              </a:rPr>
              <a:pPr eaLnBrk="1" hangingPunct="1"/>
              <a:t>20. Januar 2021</a:t>
            </a:fld>
            <a:r>
              <a:rPr lang="de-DE" altLang="de-DE" sz="1100">
                <a:latin typeface="Verdana" panose="020B0604030504040204" pitchFamily="34" charset="0"/>
              </a:rPr>
              <a:t>  |  </a:t>
            </a:r>
            <a:fld id="{F5CA0D67-E6C7-46CA-9379-37097816BD56}" type="slidenum">
              <a:rPr lang="de-DE" altLang="de-DE" sz="1100">
                <a:latin typeface="Verdana" panose="020B0604030504040204" pitchFamily="34" charset="0"/>
              </a:rPr>
              <a:pPr eaLnBrk="1" hangingPunct="1"/>
              <a:t>‹Nr.›</a:t>
            </a:fld>
            <a:endParaRPr lang="de-DE" altLang="de-DE" sz="1100">
              <a:latin typeface="Verdana" panose="020B0604030504040204" pitchFamily="34" charset="0"/>
            </a:endParaRPr>
          </a:p>
        </p:txBody>
      </p:sp>
      <p:pic>
        <p:nvPicPr>
          <p:cNvPr id="9" name="Grafik 9" descr="FHAAC_RGB_oBL-r.jpg">
            <a:extLst>
              <a:ext uri="{FF2B5EF4-FFF2-40B4-BE49-F238E27FC236}">
                <a16:creationId xmlns:a16="http://schemas.microsoft.com/office/drawing/2014/main" id="{050E6A98-A716-42B3-A3E2-C02F1A6A582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133" y="383118"/>
            <a:ext cx="541867" cy="17293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384000" y="288000"/>
            <a:ext cx="10752000" cy="960393"/>
          </a:xfrm>
        </p:spPr>
        <p:txBody>
          <a:bodyPr/>
          <a:lstStyle>
            <a:lvl1pPr algn="l">
              <a:defRPr sz="3200">
                <a:solidFill>
                  <a:schemeClr val="tx1"/>
                </a:solidFill>
                <a:latin typeface="Verdana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84000" y="1536000"/>
            <a:ext cx="10752000" cy="4800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3200">
                <a:solidFill>
                  <a:schemeClr val="tx1"/>
                </a:solidFill>
                <a:latin typeface="Verdana" pitchFamily="34" charset="0"/>
              </a:defRPr>
            </a:lvl1pPr>
            <a:lvl2pPr marL="0" indent="0">
              <a:spcBef>
                <a:spcPts val="2667"/>
              </a:spcBef>
              <a:buNone/>
              <a:defRPr sz="3200">
                <a:solidFill>
                  <a:schemeClr val="tx1"/>
                </a:solidFill>
                <a:latin typeface="Verdana" pitchFamily="34" charset="0"/>
              </a:defRPr>
            </a:lvl2pPr>
            <a:lvl3pPr marL="965176" indent="-491054">
              <a:buFont typeface="Verdana" pitchFamily="34" charset="0"/>
              <a:buChar char="&gt;"/>
              <a:defRPr>
                <a:solidFill>
                  <a:schemeClr val="tx1"/>
                </a:solidFill>
                <a:latin typeface="Verdana" pitchFamily="34" charset="0"/>
              </a:defRPr>
            </a:lvl3pPr>
            <a:lvl4pPr marL="0" indent="0">
              <a:spcBef>
                <a:spcPts val="2133"/>
              </a:spcBef>
              <a:buFontTx/>
              <a:buNone/>
              <a:defRPr sz="2100">
                <a:solidFill>
                  <a:schemeClr val="tx1"/>
                </a:solidFill>
                <a:latin typeface="Verdana" pitchFamily="34" charset="0"/>
              </a:defRPr>
            </a:lvl4pPr>
            <a:lvl5pPr marL="965176" indent="-491054">
              <a:buFont typeface="Verdana" pitchFamily="34" charset="0"/>
              <a:buChar char="&gt;"/>
              <a:defRPr sz="2100">
                <a:solidFill>
                  <a:schemeClr val="tx1"/>
                </a:solidFill>
                <a:latin typeface="Verdana" pitchFamily="34" charset="0"/>
              </a:defRPr>
            </a:lvl5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12623367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Gerade Verbindung 6">
            <a:extLst>
              <a:ext uri="{FF2B5EF4-FFF2-40B4-BE49-F238E27FC236}">
                <a16:creationId xmlns:a16="http://schemas.microsoft.com/office/drawing/2014/main" id="{D0E203CF-9917-4F46-B22E-F4DE918BD101}"/>
              </a:ext>
            </a:extLst>
          </p:cNvPr>
          <p:cNvCxnSpPr/>
          <p:nvPr/>
        </p:nvCxnSpPr>
        <p:spPr>
          <a:xfrm>
            <a:off x="383117" y="1344085"/>
            <a:ext cx="10752667" cy="2116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Gerade Verbindung 7">
            <a:extLst>
              <a:ext uri="{FF2B5EF4-FFF2-40B4-BE49-F238E27FC236}">
                <a16:creationId xmlns:a16="http://schemas.microsoft.com/office/drawing/2014/main" id="{2568C532-F352-4C57-B469-57CE07BFBBB9}"/>
              </a:ext>
            </a:extLst>
          </p:cNvPr>
          <p:cNvCxnSpPr/>
          <p:nvPr/>
        </p:nvCxnSpPr>
        <p:spPr>
          <a:xfrm>
            <a:off x="383117" y="6517218"/>
            <a:ext cx="10752667" cy="2116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feld 6">
            <a:extLst>
              <a:ext uri="{FF2B5EF4-FFF2-40B4-BE49-F238E27FC236}">
                <a16:creationId xmlns:a16="http://schemas.microsoft.com/office/drawing/2014/main" id="{DAF42F7E-5452-409B-95CA-A915CAE8FED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3118" y="6551085"/>
            <a:ext cx="11040533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de-DE" altLang="de-DE" sz="1100" b="1">
                <a:latin typeface="Verdana" panose="020B0604030504040204" pitchFamily="34" charset="0"/>
              </a:rPr>
              <a:t>© FH AACHEN </a:t>
            </a:r>
            <a:r>
              <a:rPr lang="de-DE" altLang="de-DE" sz="1100">
                <a:latin typeface="Verdana" panose="020B0604030504040204" pitchFamily="34" charset="0"/>
              </a:rPr>
              <a:t>UNIVERSITY OF APPLIED SCIENCES	</a:t>
            </a:r>
            <a:fld id="{16B73B9D-EC05-4944-9F98-33AE48E385EA}" type="datetime4">
              <a:rPr lang="de-DE" altLang="de-DE" sz="1100">
                <a:latin typeface="Verdana" panose="020B0604030504040204" pitchFamily="34" charset="0"/>
              </a:rPr>
              <a:pPr eaLnBrk="1" hangingPunct="1"/>
              <a:t>20. Januar 2021</a:t>
            </a:fld>
            <a:r>
              <a:rPr lang="de-DE" altLang="de-DE" sz="1100">
                <a:latin typeface="Verdana" panose="020B0604030504040204" pitchFamily="34" charset="0"/>
              </a:rPr>
              <a:t>  |  </a:t>
            </a:r>
            <a:fld id="{3540E74E-3E52-46EB-A2BA-7D02A9148CA9}" type="slidenum">
              <a:rPr lang="de-DE" altLang="de-DE" sz="1100">
                <a:latin typeface="Verdana" panose="020B0604030504040204" pitchFamily="34" charset="0"/>
              </a:rPr>
              <a:pPr eaLnBrk="1" hangingPunct="1"/>
              <a:t>‹Nr.›</a:t>
            </a:fld>
            <a:endParaRPr lang="de-DE" altLang="de-DE" sz="1100">
              <a:latin typeface="Verdana" panose="020B0604030504040204" pitchFamily="34" charset="0"/>
            </a:endParaRPr>
          </a:p>
        </p:txBody>
      </p:sp>
      <p:pic>
        <p:nvPicPr>
          <p:cNvPr id="8" name="Grafik 9" descr="FHAAC_RGB_oBL-r.jpg">
            <a:extLst>
              <a:ext uri="{FF2B5EF4-FFF2-40B4-BE49-F238E27FC236}">
                <a16:creationId xmlns:a16="http://schemas.microsoft.com/office/drawing/2014/main" id="{DA936C57-1306-4866-8D2E-4DB0896038F0}"/>
              </a:ext>
            </a:extLst>
          </p:cNvPr>
          <p:cNvPicPr>
            <a:picLocks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133" y="383118"/>
            <a:ext cx="541867" cy="17293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84000" y="1536000"/>
            <a:ext cx="5184000" cy="4800000"/>
          </a:xfrm>
        </p:spPr>
        <p:txBody>
          <a:bodyPr/>
          <a:lstStyle>
            <a:lvl1pPr>
              <a:defRPr sz="3200"/>
            </a:lvl1pPr>
            <a:lvl2pPr>
              <a:defRPr lang="de-DE" sz="3200" kern="1200" dirty="0" smtClean="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>
              <a:defRPr sz="2700"/>
            </a:lvl3pPr>
            <a:lvl4pPr>
              <a:defRPr lang="de-DE" sz="2100" kern="1200" dirty="0" smtClean="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>
              <a:defRPr sz="21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384000" y="288000"/>
            <a:ext cx="10752000" cy="960000"/>
          </a:xfrm>
        </p:spPr>
        <p:txBody>
          <a:bodyPr/>
          <a:lstStyle>
            <a:lvl1pPr algn="l">
              <a:defRPr sz="3200">
                <a:solidFill>
                  <a:schemeClr val="tx1"/>
                </a:solidFill>
                <a:latin typeface="Verdana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13" name="Inhaltsplatzhalter 2"/>
          <p:cNvSpPr>
            <a:spLocks noGrp="1"/>
          </p:cNvSpPr>
          <p:nvPr>
            <p:ph sz="half" idx="10"/>
          </p:nvPr>
        </p:nvSpPr>
        <p:spPr>
          <a:xfrm>
            <a:off x="5952000" y="1536000"/>
            <a:ext cx="5184000" cy="4800000"/>
          </a:xfrm>
        </p:spPr>
        <p:txBody>
          <a:bodyPr/>
          <a:lstStyle>
            <a:lvl1pPr>
              <a:defRPr sz="3200"/>
            </a:lvl1pPr>
            <a:lvl2pPr>
              <a:defRPr lang="de-DE" sz="3200" kern="1200" dirty="0" smtClean="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>
              <a:defRPr sz="2700"/>
            </a:lvl3pPr>
            <a:lvl4pPr>
              <a:defRPr lang="de-DE" sz="2100" kern="1200" dirty="0" smtClean="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>
              <a:defRPr sz="21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66710660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/20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87019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941F18-6592-454C-A2F7-361D538583E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45C4CAFA-481F-48C2-97B3-C467EA245A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165576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9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086DD3B-4270-4F31-9CC2-B6FFB396B5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83CB48-156A-445C-BB55-10CB47AF77D9}" type="datetimeFigureOut">
              <a:rPr lang="de-DE" smtClean="0"/>
              <a:t>20.01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F8880AC-91D0-40C6-9F63-09DC9009D9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365CDBE-3772-47E6-A8BA-066D540298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D95258-EE48-4D6E-84ED-4FA5D234561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0804545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B772111-69D9-4C72-87A5-59BB96D702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8876674-7570-42B7-84BD-72B9165B254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ED71D60-E9E8-477C-8950-7429869D40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83CB48-156A-445C-BB55-10CB47AF77D9}" type="datetimeFigureOut">
              <a:rPr lang="de-DE" smtClean="0"/>
              <a:t>20.01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A8E9702-E8B6-41C1-B277-60441FCFA5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C80785F-12B9-4DCB-8C55-4879B6776A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D95258-EE48-4D6E-84ED-4FA5D234561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4595774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56D03EF-34C2-4740-BD0C-C2DFABA9E4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1" y="1709740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6150B64-36CF-4AE6-8215-1A4AF4F7427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1" y="4589464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53132AD-C28F-4309-9D17-542A62AA19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83CB48-156A-445C-BB55-10CB47AF77D9}" type="datetimeFigureOut">
              <a:rPr lang="de-DE" smtClean="0"/>
              <a:t>20.01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65E0B44-A30D-4C7F-9763-6E04CB00B8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A75E350-3619-4477-83D9-D4914E73AE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D95258-EE48-4D6E-84ED-4FA5D234561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8151311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9C0BE1C-A4A6-4D67-A268-CCA8B9ABFA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DF0AC84-45B3-4005-A451-FA78AC1D68A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9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E638AA92-AFC4-45AF-AA35-0F89FD37704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9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2D6BE9CD-1C65-4AFC-A685-8EA07891F3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83CB48-156A-445C-BB55-10CB47AF77D9}" type="datetimeFigureOut">
              <a:rPr lang="de-DE" smtClean="0"/>
              <a:t>20.01.2021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19C281AD-9532-4250-B6D2-C03DFC6538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36B6E2D-8AA5-4F2A-A4E9-730E00A5FF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D95258-EE48-4D6E-84ED-4FA5D234561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1773314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191C758-9BD3-4B19-8CB1-CB07D35965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CC47BB8-C62F-4D22-97BF-3B5E987BEC5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9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FF73D407-1951-41D6-96A5-C71B7E0F549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7D89B4B-0DB7-41BD-9277-8E7D71BAEFC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9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17BFFDAE-0948-4016-91DC-D001B628FD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3F91FAA2-9949-45E4-B31C-A85A49C41B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83CB48-156A-445C-BB55-10CB47AF77D9}" type="datetimeFigureOut">
              <a:rPr lang="de-DE" smtClean="0"/>
              <a:t>20.01.2021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1CA099D4-17A3-4115-AD6F-44F4D74964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0B4563B0-D917-4AE8-9E71-C51FE7E882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D95258-EE48-4D6E-84ED-4FA5D234561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3344587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EB3054-B75A-4BD7-8B3E-8DC0F614FAF3}" type="datetimeFigureOut">
              <a:rPr lang="de-DE" smtClean="0"/>
              <a:t>20.01.2021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006FE-6571-4354-8775-F8708372C22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3320058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98D2615-D608-4243-9C11-8DB283CD96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53270DF8-4C1E-453F-BD83-B56D80F1FE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83CB48-156A-445C-BB55-10CB47AF77D9}" type="datetimeFigureOut">
              <a:rPr lang="de-DE" smtClean="0"/>
              <a:t>20.01.2021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42BDAAB-715C-4F70-8683-A79A76B615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EE349A1-A30E-4729-9E6A-4EE6D98220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D95258-EE48-4D6E-84ED-4FA5D234561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5074914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A996436-5C43-464D-A7E2-B15B80418AD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83CB48-156A-445C-BB55-10CB47AF77D9}" type="datetimeFigureOut">
              <a:rPr lang="de-DE" smtClean="0"/>
              <a:t>20.01.2021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ED8F99C-F0A6-4465-B4D8-E89350F48E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873694C-102C-41F6-89F1-C88EF0A208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D95258-EE48-4D6E-84ED-4FA5D234561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3815049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FFE735B-87D3-4399-A203-15EFA8AC3D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0AB998C-1E47-4510-809E-FA1C8E0872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A658711-F64A-44D1-9634-610CE0C3E24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1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500"/>
            </a:lvl2pPr>
            <a:lvl3pPr marL="914377" indent="0">
              <a:buNone/>
              <a:defRPr sz="1200"/>
            </a:lvl3pPr>
            <a:lvl4pPr marL="1371566" indent="0">
              <a:buNone/>
              <a:defRPr sz="1100"/>
            </a:lvl4pPr>
            <a:lvl5pPr marL="1828754" indent="0">
              <a:buNone/>
              <a:defRPr sz="1100"/>
            </a:lvl5pPr>
            <a:lvl6pPr marL="2285943" indent="0">
              <a:buNone/>
              <a:defRPr sz="1100"/>
            </a:lvl6pPr>
            <a:lvl7pPr marL="2743131" indent="0">
              <a:buNone/>
              <a:defRPr sz="1100"/>
            </a:lvl7pPr>
            <a:lvl8pPr marL="3200320" indent="0">
              <a:buNone/>
              <a:defRPr sz="1100"/>
            </a:lvl8pPr>
            <a:lvl9pPr marL="3657509" indent="0">
              <a:buNone/>
              <a:defRPr sz="11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6D26D1F1-790B-40E6-B538-08615FF4F9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83CB48-156A-445C-BB55-10CB47AF77D9}" type="datetimeFigureOut">
              <a:rPr lang="de-DE" smtClean="0"/>
              <a:t>20.01.2021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EC38557-E31D-4BC8-AC19-BF9E920CF0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0C7A455-16E0-4346-AFC1-62578E8406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D95258-EE48-4D6E-84ED-4FA5D234561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9813437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6F26E86-38A9-4199-BEAB-D8298489B4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BA3A0D9B-59F3-4249-B035-F1C8502C19D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EAFC500-EFDA-488F-BB84-6E549AB8DA3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1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500"/>
            </a:lvl2pPr>
            <a:lvl3pPr marL="914377" indent="0">
              <a:buNone/>
              <a:defRPr sz="1200"/>
            </a:lvl3pPr>
            <a:lvl4pPr marL="1371566" indent="0">
              <a:buNone/>
              <a:defRPr sz="1100"/>
            </a:lvl4pPr>
            <a:lvl5pPr marL="1828754" indent="0">
              <a:buNone/>
              <a:defRPr sz="1100"/>
            </a:lvl5pPr>
            <a:lvl6pPr marL="2285943" indent="0">
              <a:buNone/>
              <a:defRPr sz="1100"/>
            </a:lvl6pPr>
            <a:lvl7pPr marL="2743131" indent="0">
              <a:buNone/>
              <a:defRPr sz="1100"/>
            </a:lvl7pPr>
            <a:lvl8pPr marL="3200320" indent="0">
              <a:buNone/>
              <a:defRPr sz="1100"/>
            </a:lvl8pPr>
            <a:lvl9pPr marL="3657509" indent="0">
              <a:buNone/>
              <a:defRPr sz="11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BF83B2ED-B768-4F73-80A7-B7374FA322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83CB48-156A-445C-BB55-10CB47AF77D9}" type="datetimeFigureOut">
              <a:rPr lang="de-DE" smtClean="0"/>
              <a:t>20.01.2021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45EA0486-AA6B-4B10-8E58-FA7A087749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C3BD806F-0467-4E9E-B441-4F91B20881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D95258-EE48-4D6E-84ED-4FA5D234561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4435611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E769588-9770-450C-8F9A-DE3D0903B3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663CE308-DDDF-4874-BC26-3EF8CCA0A44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9F40B31-201A-45B5-A208-FF6ED2E0F6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83CB48-156A-445C-BB55-10CB47AF77D9}" type="datetimeFigureOut">
              <a:rPr lang="de-DE" smtClean="0"/>
              <a:t>20.01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243025D-2EA2-4C77-A9CE-625380DD57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3F9F54C-3C15-4320-ABFA-8BDD4ABE58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D95258-EE48-4D6E-84ED-4FA5D234561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3042306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CB02E17F-5258-4DFA-8BB5-D0A37F63786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1" y="365126"/>
            <a:ext cx="2628900" cy="5811839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BEE3CDD7-DAEB-48CF-90A9-0B8A40B4210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1" y="365126"/>
            <a:ext cx="7734300" cy="5811839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AFC1AF8-7B8C-4AC9-BB3B-C402812FC8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83CB48-156A-445C-BB55-10CB47AF77D9}" type="datetimeFigureOut">
              <a:rPr lang="de-DE" smtClean="0"/>
              <a:t>20.01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00059A9-0E87-4DE0-BC18-D7CF0E6420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20E3DB4-354F-4153-8712-603C32954C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D95258-EE48-4D6E-84ED-4FA5D234561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4956104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Gerade Verbindung 6">
            <a:extLst>
              <a:ext uri="{FF2B5EF4-FFF2-40B4-BE49-F238E27FC236}">
                <a16:creationId xmlns:a16="http://schemas.microsoft.com/office/drawing/2014/main" id="{E0D65904-4AC4-4971-8C74-AF4A9B34B0BA}"/>
              </a:ext>
            </a:extLst>
          </p:cNvPr>
          <p:cNvCxnSpPr/>
          <p:nvPr/>
        </p:nvCxnSpPr>
        <p:spPr>
          <a:xfrm>
            <a:off x="383117" y="6517218"/>
            <a:ext cx="10752667" cy="2116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Grafik 7">
            <a:extLst>
              <a:ext uri="{FF2B5EF4-FFF2-40B4-BE49-F238E27FC236}">
                <a16:creationId xmlns:a16="http://schemas.microsoft.com/office/drawing/2014/main" id="{E16E6E6F-2D0B-4360-8CF1-5A504B0517F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33200" y="431801"/>
            <a:ext cx="543984" cy="16319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384000" y="2016000"/>
            <a:ext cx="10752000" cy="2520000"/>
          </a:xfrm>
        </p:spPr>
        <p:txBody>
          <a:bodyPr/>
          <a:lstStyle>
            <a:lvl1pPr algn="l">
              <a:defRPr sz="6400">
                <a:solidFill>
                  <a:schemeClr val="tx1"/>
                </a:solidFill>
                <a:latin typeface="Verdana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384000" y="4608000"/>
            <a:ext cx="10752000" cy="1440000"/>
          </a:xfrm>
        </p:spPr>
        <p:txBody>
          <a:bodyPr/>
          <a:lstStyle>
            <a:lvl1pPr marL="0" indent="0" algn="l">
              <a:buNone/>
              <a:defRPr sz="3200">
                <a:solidFill>
                  <a:schemeClr val="tx1"/>
                </a:solidFill>
                <a:latin typeface="Verdana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6" name="Fußzeilenplatzhalter 4">
            <a:extLst>
              <a:ext uri="{FF2B5EF4-FFF2-40B4-BE49-F238E27FC236}">
                <a16:creationId xmlns:a16="http://schemas.microsoft.com/office/drawing/2014/main" id="{14AC5590-E694-4A95-8AA2-72690FD4E2D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83117" y="6551085"/>
            <a:ext cx="10752667" cy="215900"/>
          </a:xfrm>
        </p:spPr>
        <p:txBody>
          <a:bodyPr/>
          <a:lstStyle>
            <a:lvl1pPr algn="l">
              <a:defRPr sz="1100">
                <a:solidFill>
                  <a:schemeClr val="tx1"/>
                </a:solidFill>
                <a:latin typeface="Verdana" pitchFamily="34" charset="0"/>
              </a:defRPr>
            </a:lvl1pPr>
          </a:lstStyle>
          <a:p>
            <a:pPr>
              <a:defRPr/>
            </a:pP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0688478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anfa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Gerade Verbindung 6">
            <a:extLst>
              <a:ext uri="{FF2B5EF4-FFF2-40B4-BE49-F238E27FC236}">
                <a16:creationId xmlns:a16="http://schemas.microsoft.com/office/drawing/2014/main" id="{E2EFF02E-4FDB-4B17-AA84-9E3495A00947}"/>
              </a:ext>
            </a:extLst>
          </p:cNvPr>
          <p:cNvCxnSpPr/>
          <p:nvPr/>
        </p:nvCxnSpPr>
        <p:spPr>
          <a:xfrm>
            <a:off x="381000" y="1344085"/>
            <a:ext cx="10752667" cy="2116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Gerade Verbindung 7">
            <a:extLst>
              <a:ext uri="{FF2B5EF4-FFF2-40B4-BE49-F238E27FC236}">
                <a16:creationId xmlns:a16="http://schemas.microsoft.com/office/drawing/2014/main" id="{8332502C-FFAE-4888-B3DD-BABDAFC822AC}"/>
              </a:ext>
            </a:extLst>
          </p:cNvPr>
          <p:cNvCxnSpPr/>
          <p:nvPr/>
        </p:nvCxnSpPr>
        <p:spPr>
          <a:xfrm>
            <a:off x="383117" y="6517218"/>
            <a:ext cx="10752667" cy="2116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feld 5">
            <a:extLst>
              <a:ext uri="{FF2B5EF4-FFF2-40B4-BE49-F238E27FC236}">
                <a16:creationId xmlns:a16="http://schemas.microsoft.com/office/drawing/2014/main" id="{AA76ACA2-A8F8-4AA7-B49D-490806316D7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3118" y="6551085"/>
            <a:ext cx="11040533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de-DE" altLang="de-DE" sz="1100" b="1">
                <a:latin typeface="Verdana" panose="020B0604030504040204" pitchFamily="34" charset="0"/>
              </a:rPr>
              <a:t>© FH AACHEN </a:t>
            </a:r>
            <a:r>
              <a:rPr lang="de-DE" altLang="de-DE" sz="1100">
                <a:latin typeface="Verdana" panose="020B0604030504040204" pitchFamily="34" charset="0"/>
              </a:rPr>
              <a:t>UNIVERSITY OF APPLIED SCIENCES	</a:t>
            </a:r>
            <a:fld id="{F8651C2E-72A1-4E15-9DCB-A46F35F1E0C8}" type="datetime4">
              <a:rPr lang="de-DE" altLang="de-DE" sz="1100">
                <a:latin typeface="Verdana" panose="020B0604030504040204" pitchFamily="34" charset="0"/>
              </a:rPr>
              <a:pPr eaLnBrk="1" hangingPunct="1"/>
              <a:t>20. Januar 2021</a:t>
            </a:fld>
            <a:r>
              <a:rPr lang="de-DE" altLang="de-DE" sz="1100">
                <a:latin typeface="Verdana" panose="020B0604030504040204" pitchFamily="34" charset="0"/>
              </a:rPr>
              <a:t>  |  </a:t>
            </a:r>
            <a:fld id="{3BCA38E0-AF1A-4A5F-B7CE-9FB680952D36}" type="slidenum">
              <a:rPr lang="de-DE" altLang="de-DE" sz="1100">
                <a:latin typeface="Verdana" panose="020B0604030504040204" pitchFamily="34" charset="0"/>
              </a:rPr>
              <a:pPr eaLnBrk="1" hangingPunct="1"/>
              <a:t>‹Nr.›</a:t>
            </a:fld>
            <a:endParaRPr lang="de-DE" altLang="de-DE" sz="1100">
              <a:latin typeface="Verdana" panose="020B0604030504040204" pitchFamily="34" charset="0"/>
            </a:endParaRPr>
          </a:p>
        </p:txBody>
      </p:sp>
      <p:pic>
        <p:nvPicPr>
          <p:cNvPr id="9" name="Grafik 9">
            <a:extLst>
              <a:ext uri="{FF2B5EF4-FFF2-40B4-BE49-F238E27FC236}">
                <a16:creationId xmlns:a16="http://schemas.microsoft.com/office/drawing/2014/main" id="{8C4CB9A9-0162-452D-BD33-DC7DF1FC5E0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133" y="433917"/>
            <a:ext cx="541867" cy="162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384000" y="288000"/>
            <a:ext cx="10752000" cy="960000"/>
          </a:xfrm>
        </p:spPr>
        <p:txBody>
          <a:bodyPr/>
          <a:lstStyle>
            <a:lvl1pPr algn="l">
              <a:defRPr sz="3200">
                <a:solidFill>
                  <a:schemeClr val="tx1"/>
                </a:solidFill>
                <a:latin typeface="Verdana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84000" y="1536000"/>
            <a:ext cx="10752000" cy="4800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400">
                <a:solidFill>
                  <a:schemeClr val="tx1"/>
                </a:solidFill>
                <a:latin typeface="Verdana" pitchFamily="34" charset="0"/>
              </a:defRPr>
            </a:lvl1pPr>
            <a:lvl2pPr marL="0" indent="0">
              <a:spcBef>
                <a:spcPts val="2667"/>
              </a:spcBef>
              <a:buNone/>
              <a:defRPr sz="3200">
                <a:solidFill>
                  <a:schemeClr val="tx1"/>
                </a:solidFill>
                <a:latin typeface="Verdana" pitchFamily="34" charset="0"/>
              </a:defRPr>
            </a:lvl2pPr>
            <a:lvl3pPr marL="965176" indent="-491054">
              <a:buFont typeface="Verdana" pitchFamily="34" charset="0"/>
              <a:buChar char="&gt;"/>
              <a:defRPr sz="3200">
                <a:solidFill>
                  <a:schemeClr val="tx1"/>
                </a:solidFill>
                <a:latin typeface="Verdana" pitchFamily="34" charset="0"/>
              </a:defRPr>
            </a:lvl3pPr>
            <a:lvl4pPr marL="0" indent="0">
              <a:spcBef>
                <a:spcPts val="2133"/>
              </a:spcBef>
              <a:buFontTx/>
              <a:buNone/>
              <a:defRPr sz="2100" baseline="0">
                <a:solidFill>
                  <a:schemeClr val="tx1"/>
                </a:solidFill>
                <a:latin typeface="Verdana" pitchFamily="34" charset="0"/>
              </a:defRPr>
            </a:lvl4pPr>
            <a:lvl5pPr marL="965176" indent="-491054">
              <a:buFont typeface="Verdana" pitchFamily="34" charset="0"/>
              <a:buChar char="&gt;"/>
              <a:defRPr sz="2100">
                <a:solidFill>
                  <a:schemeClr val="tx1"/>
                </a:solidFill>
                <a:latin typeface="Verdana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9539531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Gerade Verbindung 6">
            <a:extLst>
              <a:ext uri="{FF2B5EF4-FFF2-40B4-BE49-F238E27FC236}">
                <a16:creationId xmlns:a16="http://schemas.microsoft.com/office/drawing/2014/main" id="{493A315A-4E1C-40E2-8D74-C73FA24D289A}"/>
              </a:ext>
            </a:extLst>
          </p:cNvPr>
          <p:cNvCxnSpPr/>
          <p:nvPr/>
        </p:nvCxnSpPr>
        <p:spPr>
          <a:xfrm>
            <a:off x="383117" y="6517218"/>
            <a:ext cx="10752667" cy="2116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fik 7">
            <a:extLst>
              <a:ext uri="{FF2B5EF4-FFF2-40B4-BE49-F238E27FC236}">
                <a16:creationId xmlns:a16="http://schemas.microsoft.com/office/drawing/2014/main" id="{16DA77C4-DD0C-4797-8CA8-A46DF63E4B7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133" y="433917"/>
            <a:ext cx="541867" cy="162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384000" y="2016000"/>
            <a:ext cx="10752000" cy="2520000"/>
          </a:xfrm>
        </p:spPr>
        <p:txBody>
          <a:bodyPr/>
          <a:lstStyle>
            <a:lvl1pPr algn="l">
              <a:defRPr sz="2100">
                <a:solidFill>
                  <a:schemeClr val="tx1"/>
                </a:solidFill>
                <a:latin typeface="Verdana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4BBB21C-15D3-45FE-A146-CF0B46EDFD4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83117" y="6551085"/>
            <a:ext cx="10752667" cy="215900"/>
          </a:xfrm>
        </p:spPr>
        <p:txBody>
          <a:bodyPr/>
          <a:lstStyle>
            <a:lvl1pPr algn="l">
              <a:defRPr sz="1100">
                <a:solidFill>
                  <a:schemeClr val="tx1"/>
                </a:solidFill>
                <a:latin typeface="Verdana" pitchFamily="34" charset="0"/>
              </a:defRPr>
            </a:lvl1pPr>
          </a:lstStyle>
          <a:p>
            <a:pPr>
              <a:defRPr/>
            </a:pP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9161673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ein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Gerade Verbindung 6">
            <a:extLst>
              <a:ext uri="{FF2B5EF4-FFF2-40B4-BE49-F238E27FC236}">
                <a16:creationId xmlns:a16="http://schemas.microsoft.com/office/drawing/2014/main" id="{C4CEBDC9-E08E-43EE-A15B-348448F342E3}"/>
              </a:ext>
            </a:extLst>
          </p:cNvPr>
          <p:cNvCxnSpPr/>
          <p:nvPr/>
        </p:nvCxnSpPr>
        <p:spPr>
          <a:xfrm>
            <a:off x="381000" y="1344085"/>
            <a:ext cx="10752667" cy="2116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Gerade Verbindung 7">
            <a:extLst>
              <a:ext uri="{FF2B5EF4-FFF2-40B4-BE49-F238E27FC236}">
                <a16:creationId xmlns:a16="http://schemas.microsoft.com/office/drawing/2014/main" id="{6E38ABB8-7ADD-4059-9EE3-8A8D55B19861}"/>
              </a:ext>
            </a:extLst>
          </p:cNvPr>
          <p:cNvCxnSpPr/>
          <p:nvPr/>
        </p:nvCxnSpPr>
        <p:spPr>
          <a:xfrm>
            <a:off x="383117" y="6517218"/>
            <a:ext cx="10752667" cy="2116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feld 5">
            <a:extLst>
              <a:ext uri="{FF2B5EF4-FFF2-40B4-BE49-F238E27FC236}">
                <a16:creationId xmlns:a16="http://schemas.microsoft.com/office/drawing/2014/main" id="{BA562E7C-9893-4FD0-8A07-1048A95CFF3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3118" y="6551085"/>
            <a:ext cx="11040533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de-DE" altLang="de-DE" sz="1100" b="1">
                <a:latin typeface="Verdana" panose="020B0604030504040204" pitchFamily="34" charset="0"/>
              </a:rPr>
              <a:t>© FH AACHEN </a:t>
            </a:r>
            <a:r>
              <a:rPr lang="de-DE" altLang="de-DE" sz="1100">
                <a:latin typeface="Verdana" panose="020B0604030504040204" pitchFamily="34" charset="0"/>
              </a:rPr>
              <a:t>UNIVERSITY OF APPLIED SCIENCES	</a:t>
            </a:r>
            <a:fld id="{B29C3FA0-33A9-4064-A332-92302109A0BB}" type="datetime4">
              <a:rPr lang="de-DE" altLang="de-DE" sz="1100">
                <a:latin typeface="Verdana" panose="020B0604030504040204" pitchFamily="34" charset="0"/>
              </a:rPr>
              <a:pPr eaLnBrk="1" hangingPunct="1"/>
              <a:t>20. Januar 2021</a:t>
            </a:fld>
            <a:r>
              <a:rPr lang="de-DE" altLang="de-DE" sz="1100">
                <a:latin typeface="Verdana" panose="020B0604030504040204" pitchFamily="34" charset="0"/>
              </a:rPr>
              <a:t>  |  </a:t>
            </a:r>
            <a:fld id="{C8580878-35C0-40C5-87B8-B17EF0EC96C6}" type="slidenum">
              <a:rPr lang="de-DE" altLang="de-DE" sz="1100">
                <a:latin typeface="Verdana" panose="020B0604030504040204" pitchFamily="34" charset="0"/>
              </a:rPr>
              <a:pPr eaLnBrk="1" hangingPunct="1"/>
              <a:t>‹Nr.›</a:t>
            </a:fld>
            <a:endParaRPr lang="de-DE" altLang="de-DE" sz="1100">
              <a:latin typeface="Verdana" panose="020B0604030504040204" pitchFamily="34" charset="0"/>
            </a:endParaRPr>
          </a:p>
        </p:txBody>
      </p:sp>
      <p:pic>
        <p:nvPicPr>
          <p:cNvPr id="9" name="Grafik 9" descr="FHAAC_RGB_oBL-r.jpg">
            <a:extLst>
              <a:ext uri="{FF2B5EF4-FFF2-40B4-BE49-F238E27FC236}">
                <a16:creationId xmlns:a16="http://schemas.microsoft.com/office/drawing/2014/main" id="{37075512-BB67-4D3B-92D1-5887249AC5C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133" y="383118"/>
            <a:ext cx="541867" cy="17293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384000" y="288000"/>
            <a:ext cx="10752000" cy="960393"/>
          </a:xfrm>
        </p:spPr>
        <p:txBody>
          <a:bodyPr/>
          <a:lstStyle>
            <a:lvl1pPr algn="l">
              <a:defRPr sz="3200">
                <a:solidFill>
                  <a:schemeClr val="tx1"/>
                </a:solidFill>
                <a:latin typeface="Verdana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84000" y="1536000"/>
            <a:ext cx="10752000" cy="4800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3200">
                <a:solidFill>
                  <a:schemeClr val="tx1"/>
                </a:solidFill>
                <a:latin typeface="Verdana" pitchFamily="34" charset="0"/>
              </a:defRPr>
            </a:lvl1pPr>
            <a:lvl2pPr marL="0" indent="0">
              <a:spcBef>
                <a:spcPts val="2667"/>
              </a:spcBef>
              <a:buNone/>
              <a:defRPr sz="3200">
                <a:solidFill>
                  <a:schemeClr val="tx1"/>
                </a:solidFill>
                <a:latin typeface="Verdana" pitchFamily="34" charset="0"/>
              </a:defRPr>
            </a:lvl2pPr>
            <a:lvl3pPr marL="965176" indent="-491054">
              <a:buFont typeface="Verdana" pitchFamily="34" charset="0"/>
              <a:buChar char="&gt;"/>
              <a:defRPr>
                <a:solidFill>
                  <a:schemeClr val="tx1"/>
                </a:solidFill>
                <a:latin typeface="Verdana" pitchFamily="34" charset="0"/>
              </a:defRPr>
            </a:lvl3pPr>
            <a:lvl4pPr marL="0" indent="0">
              <a:spcBef>
                <a:spcPts val="2133"/>
              </a:spcBef>
              <a:buFontTx/>
              <a:buNone/>
              <a:defRPr sz="2100">
                <a:solidFill>
                  <a:schemeClr val="tx1"/>
                </a:solidFill>
                <a:latin typeface="Verdana" pitchFamily="34" charset="0"/>
              </a:defRPr>
            </a:lvl4pPr>
            <a:lvl5pPr marL="965176" indent="-491054">
              <a:buFont typeface="Verdana" pitchFamily="34" charset="0"/>
              <a:buChar char="&gt;"/>
              <a:defRPr sz="2100">
                <a:solidFill>
                  <a:schemeClr val="tx1"/>
                </a:solidFill>
                <a:latin typeface="Verdana" pitchFamily="34" charset="0"/>
              </a:defRPr>
            </a:lvl5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57484171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EB3054-B75A-4BD7-8B3E-8DC0F614FAF3}" type="datetimeFigureOut">
              <a:rPr lang="de-DE" smtClean="0"/>
              <a:t>20.01.2021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006FE-6571-4354-8775-F8708372C22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3558564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Gerade Verbindung 6">
            <a:extLst>
              <a:ext uri="{FF2B5EF4-FFF2-40B4-BE49-F238E27FC236}">
                <a16:creationId xmlns:a16="http://schemas.microsoft.com/office/drawing/2014/main" id="{88518139-9E5B-4EEC-AE2D-1D54ED6CD81B}"/>
              </a:ext>
            </a:extLst>
          </p:cNvPr>
          <p:cNvCxnSpPr/>
          <p:nvPr/>
        </p:nvCxnSpPr>
        <p:spPr>
          <a:xfrm>
            <a:off x="383117" y="1344085"/>
            <a:ext cx="10752667" cy="2116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Gerade Verbindung 7">
            <a:extLst>
              <a:ext uri="{FF2B5EF4-FFF2-40B4-BE49-F238E27FC236}">
                <a16:creationId xmlns:a16="http://schemas.microsoft.com/office/drawing/2014/main" id="{3AEE9C48-7B83-45E3-BFC9-228FA7B9EA83}"/>
              </a:ext>
            </a:extLst>
          </p:cNvPr>
          <p:cNvCxnSpPr/>
          <p:nvPr/>
        </p:nvCxnSpPr>
        <p:spPr>
          <a:xfrm>
            <a:off x="383117" y="6517218"/>
            <a:ext cx="10752667" cy="2116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feld 6">
            <a:extLst>
              <a:ext uri="{FF2B5EF4-FFF2-40B4-BE49-F238E27FC236}">
                <a16:creationId xmlns:a16="http://schemas.microsoft.com/office/drawing/2014/main" id="{FA81D919-C0FE-402C-8174-56A55F093CB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3118" y="6551085"/>
            <a:ext cx="11040533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de-DE" altLang="de-DE" sz="1100" b="1">
                <a:latin typeface="Verdana" panose="020B0604030504040204" pitchFamily="34" charset="0"/>
              </a:rPr>
              <a:t>© FH AACHEN </a:t>
            </a:r>
            <a:r>
              <a:rPr lang="de-DE" altLang="de-DE" sz="1100">
                <a:latin typeface="Verdana" panose="020B0604030504040204" pitchFamily="34" charset="0"/>
              </a:rPr>
              <a:t>UNIVERSITY OF APPLIED SCIENCES	</a:t>
            </a:r>
            <a:fld id="{6F6CFF2A-81F5-45AA-94D9-C18D79769FDF}" type="datetime4">
              <a:rPr lang="de-DE" altLang="de-DE" sz="1100">
                <a:latin typeface="Verdana" panose="020B0604030504040204" pitchFamily="34" charset="0"/>
              </a:rPr>
              <a:pPr eaLnBrk="1" hangingPunct="1"/>
              <a:t>20. Januar 2021</a:t>
            </a:fld>
            <a:r>
              <a:rPr lang="de-DE" altLang="de-DE" sz="1100">
                <a:latin typeface="Verdana" panose="020B0604030504040204" pitchFamily="34" charset="0"/>
              </a:rPr>
              <a:t>  |  </a:t>
            </a:r>
            <a:fld id="{2EB4865F-7831-4E45-8D38-1F6FF26B8C68}" type="slidenum">
              <a:rPr lang="de-DE" altLang="de-DE" sz="1100">
                <a:latin typeface="Verdana" panose="020B0604030504040204" pitchFamily="34" charset="0"/>
              </a:rPr>
              <a:pPr eaLnBrk="1" hangingPunct="1"/>
              <a:t>‹Nr.›</a:t>
            </a:fld>
            <a:endParaRPr lang="de-DE" altLang="de-DE" sz="1100">
              <a:latin typeface="Verdana" panose="020B0604030504040204" pitchFamily="34" charset="0"/>
            </a:endParaRPr>
          </a:p>
        </p:txBody>
      </p:sp>
      <p:pic>
        <p:nvPicPr>
          <p:cNvPr id="8" name="Grafik 9" descr="FHAAC_RGB_oBL-r.jpg">
            <a:extLst>
              <a:ext uri="{FF2B5EF4-FFF2-40B4-BE49-F238E27FC236}">
                <a16:creationId xmlns:a16="http://schemas.microsoft.com/office/drawing/2014/main" id="{B8AC7AB0-5648-411A-B27B-620F5775ADEE}"/>
              </a:ext>
            </a:extLst>
          </p:cNvPr>
          <p:cNvPicPr>
            <a:picLocks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133" y="383118"/>
            <a:ext cx="541867" cy="17293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84000" y="1536000"/>
            <a:ext cx="5184000" cy="4800000"/>
          </a:xfrm>
        </p:spPr>
        <p:txBody>
          <a:bodyPr/>
          <a:lstStyle>
            <a:lvl1pPr>
              <a:defRPr sz="3200"/>
            </a:lvl1pPr>
            <a:lvl2pPr>
              <a:defRPr lang="de-DE" sz="3200" kern="1200" dirty="0" smtClean="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>
              <a:defRPr sz="2700"/>
            </a:lvl3pPr>
            <a:lvl4pPr>
              <a:defRPr lang="de-DE" sz="2100" kern="1200" dirty="0" smtClean="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>
              <a:defRPr sz="21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384000" y="288000"/>
            <a:ext cx="10752000" cy="960000"/>
          </a:xfrm>
        </p:spPr>
        <p:txBody>
          <a:bodyPr/>
          <a:lstStyle>
            <a:lvl1pPr algn="l">
              <a:defRPr sz="3200">
                <a:solidFill>
                  <a:schemeClr val="tx1"/>
                </a:solidFill>
                <a:latin typeface="Verdana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13" name="Inhaltsplatzhalter 2"/>
          <p:cNvSpPr>
            <a:spLocks noGrp="1"/>
          </p:cNvSpPr>
          <p:nvPr>
            <p:ph sz="half" idx="10"/>
          </p:nvPr>
        </p:nvSpPr>
        <p:spPr>
          <a:xfrm>
            <a:off x="5952000" y="1536000"/>
            <a:ext cx="5184000" cy="4800000"/>
          </a:xfrm>
        </p:spPr>
        <p:txBody>
          <a:bodyPr/>
          <a:lstStyle>
            <a:lvl1pPr>
              <a:defRPr sz="3200"/>
            </a:lvl1pPr>
            <a:lvl2pPr>
              <a:defRPr lang="de-DE" sz="3200" kern="1200" dirty="0" smtClean="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>
              <a:defRPr sz="2700"/>
            </a:lvl3pPr>
            <a:lvl4pPr>
              <a:defRPr lang="de-DE" sz="2100" kern="1200" dirty="0" smtClean="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>
              <a:defRPr sz="21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3377429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Gerade Verbindung 6">
            <a:extLst>
              <a:ext uri="{FF2B5EF4-FFF2-40B4-BE49-F238E27FC236}">
                <a16:creationId xmlns:a16="http://schemas.microsoft.com/office/drawing/2014/main" id="{F394E130-E9D4-4DF2-812A-FC7D0B828CDC}"/>
              </a:ext>
            </a:extLst>
          </p:cNvPr>
          <p:cNvCxnSpPr/>
          <p:nvPr/>
        </p:nvCxnSpPr>
        <p:spPr>
          <a:xfrm>
            <a:off x="383117" y="6517218"/>
            <a:ext cx="10752667" cy="2116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Grafik 7">
            <a:extLst>
              <a:ext uri="{FF2B5EF4-FFF2-40B4-BE49-F238E27FC236}">
                <a16:creationId xmlns:a16="http://schemas.microsoft.com/office/drawing/2014/main" id="{C40C1555-287C-4FBB-A100-6B3053DF863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33200" y="431801"/>
            <a:ext cx="543984" cy="16319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384000" y="2016000"/>
            <a:ext cx="10752000" cy="2520000"/>
          </a:xfrm>
        </p:spPr>
        <p:txBody>
          <a:bodyPr/>
          <a:lstStyle>
            <a:lvl1pPr algn="l">
              <a:defRPr sz="6400">
                <a:solidFill>
                  <a:schemeClr val="tx1"/>
                </a:solidFill>
                <a:latin typeface="Verdana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384000" y="4608000"/>
            <a:ext cx="10752000" cy="1440000"/>
          </a:xfrm>
        </p:spPr>
        <p:txBody>
          <a:bodyPr/>
          <a:lstStyle>
            <a:lvl1pPr marL="0" indent="0" algn="l">
              <a:buNone/>
              <a:defRPr sz="3200">
                <a:solidFill>
                  <a:schemeClr val="tx1"/>
                </a:solidFill>
                <a:latin typeface="Verdana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6" name="Fußzeilenplatzhalter 4">
            <a:extLst>
              <a:ext uri="{FF2B5EF4-FFF2-40B4-BE49-F238E27FC236}">
                <a16:creationId xmlns:a16="http://schemas.microsoft.com/office/drawing/2014/main" id="{95566523-0D27-4314-A4B2-CF672F7B703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83117" y="6551085"/>
            <a:ext cx="10752667" cy="215900"/>
          </a:xfrm>
        </p:spPr>
        <p:txBody>
          <a:bodyPr/>
          <a:lstStyle>
            <a:lvl1pPr algn="l">
              <a:defRPr sz="1067">
                <a:solidFill>
                  <a:schemeClr val="tx1"/>
                </a:solidFill>
                <a:latin typeface="Verdana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556600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apitelanfa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Gerade Verbindung 6">
            <a:extLst>
              <a:ext uri="{FF2B5EF4-FFF2-40B4-BE49-F238E27FC236}">
                <a16:creationId xmlns:a16="http://schemas.microsoft.com/office/drawing/2014/main" id="{4A19E3C7-72EF-4095-9E2B-1685A71FAF93}"/>
              </a:ext>
            </a:extLst>
          </p:cNvPr>
          <p:cNvCxnSpPr/>
          <p:nvPr/>
        </p:nvCxnSpPr>
        <p:spPr>
          <a:xfrm>
            <a:off x="381000" y="1344085"/>
            <a:ext cx="10752667" cy="2116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Gerade Verbindung 7">
            <a:extLst>
              <a:ext uri="{FF2B5EF4-FFF2-40B4-BE49-F238E27FC236}">
                <a16:creationId xmlns:a16="http://schemas.microsoft.com/office/drawing/2014/main" id="{363FD60B-F6DD-4566-ADAF-E6F718910F7C}"/>
              </a:ext>
            </a:extLst>
          </p:cNvPr>
          <p:cNvCxnSpPr/>
          <p:nvPr/>
        </p:nvCxnSpPr>
        <p:spPr>
          <a:xfrm>
            <a:off x="383117" y="6517218"/>
            <a:ext cx="10752667" cy="2116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feld 5">
            <a:extLst>
              <a:ext uri="{FF2B5EF4-FFF2-40B4-BE49-F238E27FC236}">
                <a16:creationId xmlns:a16="http://schemas.microsoft.com/office/drawing/2014/main" id="{3B485FE3-C507-4510-9E54-ED8BC4F7F34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3118" y="6551084"/>
            <a:ext cx="11040533" cy="164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de-DE" altLang="de-DE" sz="1067" b="1">
                <a:latin typeface="Verdana" panose="020B0604030504040204" pitchFamily="34" charset="0"/>
              </a:rPr>
              <a:t>© FH AACHEN </a:t>
            </a:r>
            <a:r>
              <a:rPr lang="de-DE" altLang="de-DE" sz="1067">
                <a:latin typeface="Verdana" panose="020B0604030504040204" pitchFamily="34" charset="0"/>
              </a:rPr>
              <a:t>UNIVERSITY OF APPLIED SCIENCES	</a:t>
            </a:r>
            <a:fld id="{FD5E2672-B3E9-4FD5-B499-1B83BA70C43C}" type="datetime4">
              <a:rPr lang="de-DE" altLang="de-DE" sz="1067">
                <a:latin typeface="Verdana" panose="020B0604030504040204" pitchFamily="34" charset="0"/>
              </a:rPr>
              <a:pPr eaLnBrk="1" hangingPunct="1"/>
              <a:t>20. Januar 2021</a:t>
            </a:fld>
            <a:r>
              <a:rPr lang="de-DE" altLang="de-DE" sz="1067">
                <a:latin typeface="Verdana" panose="020B0604030504040204" pitchFamily="34" charset="0"/>
              </a:rPr>
              <a:t>  |  </a:t>
            </a:r>
            <a:fld id="{F5FEF49C-B72E-4634-99C2-F18840CB7736}" type="slidenum">
              <a:rPr lang="de-DE" altLang="de-DE" sz="1067">
                <a:latin typeface="Verdana" panose="020B0604030504040204" pitchFamily="34" charset="0"/>
              </a:rPr>
              <a:pPr eaLnBrk="1" hangingPunct="1"/>
              <a:t>‹Nr.›</a:t>
            </a:fld>
            <a:endParaRPr lang="de-DE" altLang="de-DE" sz="1067">
              <a:latin typeface="Verdana" panose="020B0604030504040204" pitchFamily="34" charset="0"/>
            </a:endParaRPr>
          </a:p>
        </p:txBody>
      </p:sp>
      <p:pic>
        <p:nvPicPr>
          <p:cNvPr id="9" name="Grafik 9">
            <a:extLst>
              <a:ext uri="{FF2B5EF4-FFF2-40B4-BE49-F238E27FC236}">
                <a16:creationId xmlns:a16="http://schemas.microsoft.com/office/drawing/2014/main" id="{852FD271-5C5B-4CED-8AA5-E6D5AC7A686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133" y="433917"/>
            <a:ext cx="541867" cy="162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384000" y="288000"/>
            <a:ext cx="10752000" cy="960000"/>
          </a:xfrm>
        </p:spPr>
        <p:txBody>
          <a:bodyPr/>
          <a:lstStyle>
            <a:lvl1pPr algn="l">
              <a:defRPr sz="3200">
                <a:solidFill>
                  <a:schemeClr val="tx1"/>
                </a:solidFill>
                <a:latin typeface="Verdana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84000" y="1536000"/>
            <a:ext cx="10752000" cy="4800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400">
                <a:solidFill>
                  <a:schemeClr val="tx1"/>
                </a:solidFill>
                <a:latin typeface="Verdana" pitchFamily="34" charset="0"/>
              </a:defRPr>
            </a:lvl1pPr>
            <a:lvl2pPr marL="0" indent="0">
              <a:spcBef>
                <a:spcPts val="2667"/>
              </a:spcBef>
              <a:buNone/>
              <a:defRPr sz="3200">
                <a:solidFill>
                  <a:schemeClr val="tx1"/>
                </a:solidFill>
                <a:latin typeface="Verdana" pitchFamily="34" charset="0"/>
              </a:defRPr>
            </a:lvl2pPr>
            <a:lvl3pPr marL="965176" indent="-491054">
              <a:buFont typeface="Verdana" pitchFamily="34" charset="0"/>
              <a:buChar char="&gt;"/>
              <a:defRPr sz="3200">
                <a:solidFill>
                  <a:schemeClr val="tx1"/>
                </a:solidFill>
                <a:latin typeface="Verdana" pitchFamily="34" charset="0"/>
              </a:defRPr>
            </a:lvl3pPr>
            <a:lvl4pPr marL="0" indent="0">
              <a:spcBef>
                <a:spcPts val="2133"/>
              </a:spcBef>
              <a:buFontTx/>
              <a:buNone/>
              <a:defRPr sz="2133" baseline="0">
                <a:solidFill>
                  <a:schemeClr val="tx1"/>
                </a:solidFill>
                <a:latin typeface="Verdana" pitchFamily="34" charset="0"/>
              </a:defRPr>
            </a:lvl4pPr>
            <a:lvl5pPr marL="965176" indent="-491054">
              <a:buFont typeface="Verdana" pitchFamily="34" charset="0"/>
              <a:buChar char="&gt;"/>
              <a:defRPr sz="2133">
                <a:solidFill>
                  <a:schemeClr val="tx1"/>
                </a:solidFill>
                <a:latin typeface="Verdana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7522478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hluss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Gerade Verbindung 6">
            <a:extLst>
              <a:ext uri="{FF2B5EF4-FFF2-40B4-BE49-F238E27FC236}">
                <a16:creationId xmlns:a16="http://schemas.microsoft.com/office/drawing/2014/main" id="{14D6D960-FE10-4EE9-B3AF-5EE1455A68AB}"/>
              </a:ext>
            </a:extLst>
          </p:cNvPr>
          <p:cNvCxnSpPr/>
          <p:nvPr/>
        </p:nvCxnSpPr>
        <p:spPr>
          <a:xfrm>
            <a:off x="383117" y="6517218"/>
            <a:ext cx="10752667" cy="2116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fik 7">
            <a:extLst>
              <a:ext uri="{FF2B5EF4-FFF2-40B4-BE49-F238E27FC236}">
                <a16:creationId xmlns:a16="http://schemas.microsoft.com/office/drawing/2014/main" id="{A429C920-14F7-4E8F-AE05-A7E2E4C15E9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133" y="433917"/>
            <a:ext cx="541867" cy="162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384000" y="2016000"/>
            <a:ext cx="10752000" cy="2520000"/>
          </a:xfrm>
        </p:spPr>
        <p:txBody>
          <a:bodyPr/>
          <a:lstStyle>
            <a:lvl1pPr algn="l">
              <a:defRPr sz="2133">
                <a:solidFill>
                  <a:schemeClr val="tx1"/>
                </a:solidFill>
                <a:latin typeface="Verdana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1CEFB1E-771D-4BF3-A27D-9A33AF8068C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83117" y="6551085"/>
            <a:ext cx="10752667" cy="215900"/>
          </a:xfrm>
        </p:spPr>
        <p:txBody>
          <a:bodyPr/>
          <a:lstStyle>
            <a:lvl1pPr algn="l">
              <a:defRPr sz="1067">
                <a:solidFill>
                  <a:schemeClr val="tx1"/>
                </a:solidFill>
                <a:latin typeface="Verdana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576685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77334" y="2160589"/>
            <a:ext cx="4184035" cy="388077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9970" y="2160589"/>
            <a:ext cx="4184034" cy="3880773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A00F3E-B992-4FDB-AD63-C5B6EE51E1F5}" type="datetimeFigureOut">
              <a:rPr lang="en-US" smtClean="0"/>
              <a:t>1/20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0A482D-1664-4CB0-8EDE-AAB38034A70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021167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ein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Gerade Verbindung 6">
            <a:extLst>
              <a:ext uri="{FF2B5EF4-FFF2-40B4-BE49-F238E27FC236}">
                <a16:creationId xmlns:a16="http://schemas.microsoft.com/office/drawing/2014/main" id="{FFB7CE11-0949-4BC1-80F4-94D94347FCCB}"/>
              </a:ext>
            </a:extLst>
          </p:cNvPr>
          <p:cNvCxnSpPr/>
          <p:nvPr/>
        </p:nvCxnSpPr>
        <p:spPr>
          <a:xfrm>
            <a:off x="381000" y="1344085"/>
            <a:ext cx="10752667" cy="2116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Gerade Verbindung 7">
            <a:extLst>
              <a:ext uri="{FF2B5EF4-FFF2-40B4-BE49-F238E27FC236}">
                <a16:creationId xmlns:a16="http://schemas.microsoft.com/office/drawing/2014/main" id="{0602C855-1F75-4382-9FAE-C40EE72AFF9B}"/>
              </a:ext>
            </a:extLst>
          </p:cNvPr>
          <p:cNvCxnSpPr/>
          <p:nvPr/>
        </p:nvCxnSpPr>
        <p:spPr>
          <a:xfrm>
            <a:off x="383117" y="6517218"/>
            <a:ext cx="10752667" cy="2116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feld 5">
            <a:extLst>
              <a:ext uri="{FF2B5EF4-FFF2-40B4-BE49-F238E27FC236}">
                <a16:creationId xmlns:a16="http://schemas.microsoft.com/office/drawing/2014/main" id="{03F4141A-FCDB-4E30-8654-E240F157184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3118" y="6551085"/>
            <a:ext cx="11040533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de-DE" altLang="de-DE" sz="1100" b="1">
                <a:latin typeface="Verdana" panose="020B0604030504040204" pitchFamily="34" charset="0"/>
              </a:rPr>
              <a:t>© FH AACHEN </a:t>
            </a:r>
            <a:r>
              <a:rPr lang="de-DE" altLang="de-DE" sz="1100">
                <a:latin typeface="Verdana" panose="020B0604030504040204" pitchFamily="34" charset="0"/>
              </a:rPr>
              <a:t>UNIVERSITY OF APPLIED SCIENCES	</a:t>
            </a:r>
            <a:fld id="{6757183A-F97C-4685-AD65-598302830E30}" type="datetime4">
              <a:rPr lang="de-DE" altLang="de-DE" sz="1100">
                <a:latin typeface="Verdana" panose="020B0604030504040204" pitchFamily="34" charset="0"/>
              </a:rPr>
              <a:pPr eaLnBrk="1" hangingPunct="1"/>
              <a:t>20. Januar 2021</a:t>
            </a:fld>
            <a:r>
              <a:rPr lang="de-DE" altLang="de-DE" sz="1100">
                <a:latin typeface="Verdana" panose="020B0604030504040204" pitchFamily="34" charset="0"/>
              </a:rPr>
              <a:t>  |  </a:t>
            </a:r>
            <a:fld id="{E09A7F90-2360-4781-AE1B-BDF129670A25}" type="slidenum">
              <a:rPr lang="de-DE" altLang="de-DE" sz="1100">
                <a:latin typeface="Verdana" panose="020B0604030504040204" pitchFamily="34" charset="0"/>
              </a:rPr>
              <a:pPr eaLnBrk="1" hangingPunct="1"/>
              <a:t>‹Nr.›</a:t>
            </a:fld>
            <a:endParaRPr lang="de-DE" altLang="de-DE" sz="1100">
              <a:latin typeface="Verdana" panose="020B0604030504040204" pitchFamily="34" charset="0"/>
            </a:endParaRPr>
          </a:p>
        </p:txBody>
      </p:sp>
      <p:pic>
        <p:nvPicPr>
          <p:cNvPr id="9" name="Grafik 9" descr="FHAAC_RGB_oBL-r.jpg">
            <a:extLst>
              <a:ext uri="{FF2B5EF4-FFF2-40B4-BE49-F238E27FC236}">
                <a16:creationId xmlns:a16="http://schemas.microsoft.com/office/drawing/2014/main" id="{F3C27D92-E985-419C-B3CD-26139A5BD47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133" y="383118"/>
            <a:ext cx="541867" cy="17293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384000" y="288000"/>
            <a:ext cx="10752000" cy="960393"/>
          </a:xfrm>
        </p:spPr>
        <p:txBody>
          <a:bodyPr/>
          <a:lstStyle>
            <a:lvl1pPr algn="l">
              <a:defRPr sz="3200">
                <a:solidFill>
                  <a:schemeClr val="tx1"/>
                </a:solidFill>
                <a:latin typeface="Verdana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384000" y="1536000"/>
            <a:ext cx="10752000" cy="4800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3200">
                <a:solidFill>
                  <a:schemeClr val="tx1"/>
                </a:solidFill>
                <a:latin typeface="Verdana" pitchFamily="34" charset="0"/>
              </a:defRPr>
            </a:lvl1pPr>
            <a:lvl2pPr marL="0" indent="0">
              <a:spcBef>
                <a:spcPts val="2667"/>
              </a:spcBef>
              <a:buNone/>
              <a:defRPr sz="3200">
                <a:solidFill>
                  <a:schemeClr val="tx1"/>
                </a:solidFill>
                <a:latin typeface="Verdana" pitchFamily="34" charset="0"/>
              </a:defRPr>
            </a:lvl2pPr>
            <a:lvl3pPr marL="965176" indent="-491054">
              <a:buFont typeface="Verdana" pitchFamily="34" charset="0"/>
              <a:buChar char="&gt;"/>
              <a:defRPr>
                <a:solidFill>
                  <a:schemeClr val="tx1"/>
                </a:solidFill>
                <a:latin typeface="Verdana" pitchFamily="34" charset="0"/>
              </a:defRPr>
            </a:lvl3pPr>
            <a:lvl4pPr marL="0" indent="0">
              <a:spcBef>
                <a:spcPts val="2133"/>
              </a:spcBef>
              <a:buFontTx/>
              <a:buNone/>
              <a:defRPr sz="2100">
                <a:solidFill>
                  <a:schemeClr val="tx1"/>
                </a:solidFill>
                <a:latin typeface="Verdana" pitchFamily="34" charset="0"/>
              </a:defRPr>
            </a:lvl4pPr>
            <a:lvl5pPr marL="965176" indent="-491054">
              <a:buFont typeface="Verdana" pitchFamily="34" charset="0"/>
              <a:buChar char="&gt;"/>
              <a:defRPr sz="2100">
                <a:solidFill>
                  <a:schemeClr val="tx1"/>
                </a:solidFill>
                <a:latin typeface="Verdana" pitchFamily="34" charset="0"/>
              </a:defRPr>
            </a:lvl5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34085641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Gerade Verbindung 6">
            <a:extLst>
              <a:ext uri="{FF2B5EF4-FFF2-40B4-BE49-F238E27FC236}">
                <a16:creationId xmlns:a16="http://schemas.microsoft.com/office/drawing/2014/main" id="{B069A18E-3DA2-4100-9C66-EEB1D3AF02A3}"/>
              </a:ext>
            </a:extLst>
          </p:cNvPr>
          <p:cNvCxnSpPr/>
          <p:nvPr/>
        </p:nvCxnSpPr>
        <p:spPr>
          <a:xfrm>
            <a:off x="383117" y="1344085"/>
            <a:ext cx="10752667" cy="2116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Gerade Verbindung 7">
            <a:extLst>
              <a:ext uri="{FF2B5EF4-FFF2-40B4-BE49-F238E27FC236}">
                <a16:creationId xmlns:a16="http://schemas.microsoft.com/office/drawing/2014/main" id="{5BD1FFF3-D77B-4D6E-901B-C52FAB1164B3}"/>
              </a:ext>
            </a:extLst>
          </p:cNvPr>
          <p:cNvCxnSpPr/>
          <p:nvPr/>
        </p:nvCxnSpPr>
        <p:spPr>
          <a:xfrm>
            <a:off x="383117" y="6517218"/>
            <a:ext cx="10752667" cy="2116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feld 6">
            <a:extLst>
              <a:ext uri="{FF2B5EF4-FFF2-40B4-BE49-F238E27FC236}">
                <a16:creationId xmlns:a16="http://schemas.microsoft.com/office/drawing/2014/main" id="{67B0A43B-0E00-473A-8F40-21805C3F420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3118" y="6551085"/>
            <a:ext cx="11040533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de-DE" altLang="de-DE" sz="1100" b="1">
                <a:latin typeface="Verdana" panose="020B0604030504040204" pitchFamily="34" charset="0"/>
              </a:rPr>
              <a:t>© FH AACHEN </a:t>
            </a:r>
            <a:r>
              <a:rPr lang="de-DE" altLang="de-DE" sz="1100">
                <a:latin typeface="Verdana" panose="020B0604030504040204" pitchFamily="34" charset="0"/>
              </a:rPr>
              <a:t>UNIVERSITY OF APPLIED SCIENCES	</a:t>
            </a:r>
            <a:fld id="{C3612D19-D3DF-43F6-865D-EC64D6402E96}" type="datetime4">
              <a:rPr lang="de-DE" altLang="de-DE" sz="1100">
                <a:latin typeface="Verdana" panose="020B0604030504040204" pitchFamily="34" charset="0"/>
              </a:rPr>
              <a:pPr eaLnBrk="1" hangingPunct="1"/>
              <a:t>20. Januar 2021</a:t>
            </a:fld>
            <a:r>
              <a:rPr lang="de-DE" altLang="de-DE" sz="1100">
                <a:latin typeface="Verdana" panose="020B0604030504040204" pitchFamily="34" charset="0"/>
              </a:rPr>
              <a:t>  |  </a:t>
            </a:r>
            <a:fld id="{0723B40B-2F71-4176-A770-4435B419AEE4}" type="slidenum">
              <a:rPr lang="de-DE" altLang="de-DE" sz="1100">
                <a:latin typeface="Verdana" panose="020B0604030504040204" pitchFamily="34" charset="0"/>
              </a:rPr>
              <a:pPr eaLnBrk="1" hangingPunct="1"/>
              <a:t>‹Nr.›</a:t>
            </a:fld>
            <a:endParaRPr lang="de-DE" altLang="de-DE" sz="1100">
              <a:latin typeface="Verdana" panose="020B0604030504040204" pitchFamily="34" charset="0"/>
            </a:endParaRPr>
          </a:p>
        </p:txBody>
      </p:sp>
      <p:pic>
        <p:nvPicPr>
          <p:cNvPr id="8" name="Grafik 9" descr="FHAAC_RGB_oBL-r.jpg">
            <a:extLst>
              <a:ext uri="{FF2B5EF4-FFF2-40B4-BE49-F238E27FC236}">
                <a16:creationId xmlns:a16="http://schemas.microsoft.com/office/drawing/2014/main" id="{834C6F71-657D-49C5-B83D-CD3673B5E612}"/>
              </a:ext>
            </a:extLst>
          </p:cNvPr>
          <p:cNvPicPr>
            <a:picLocks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133" y="383118"/>
            <a:ext cx="541867" cy="17293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84000" y="1536000"/>
            <a:ext cx="5184000" cy="4800000"/>
          </a:xfrm>
        </p:spPr>
        <p:txBody>
          <a:bodyPr/>
          <a:lstStyle>
            <a:lvl1pPr>
              <a:defRPr sz="3200"/>
            </a:lvl1pPr>
            <a:lvl2pPr>
              <a:defRPr lang="de-DE" sz="3200" kern="1200" dirty="0" smtClean="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>
              <a:defRPr sz="2700"/>
            </a:lvl3pPr>
            <a:lvl4pPr>
              <a:defRPr lang="de-DE" sz="2100" kern="1200" dirty="0" smtClean="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>
              <a:defRPr sz="21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384000" y="288000"/>
            <a:ext cx="10752000" cy="960000"/>
          </a:xfrm>
        </p:spPr>
        <p:txBody>
          <a:bodyPr/>
          <a:lstStyle>
            <a:lvl1pPr algn="l">
              <a:defRPr sz="3200">
                <a:solidFill>
                  <a:schemeClr val="tx1"/>
                </a:solidFill>
                <a:latin typeface="Verdana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13" name="Inhaltsplatzhalter 2"/>
          <p:cNvSpPr>
            <a:spLocks noGrp="1"/>
          </p:cNvSpPr>
          <p:nvPr>
            <p:ph sz="half" idx="10"/>
          </p:nvPr>
        </p:nvSpPr>
        <p:spPr>
          <a:xfrm>
            <a:off x="5952000" y="1536000"/>
            <a:ext cx="5184000" cy="4800000"/>
          </a:xfrm>
        </p:spPr>
        <p:txBody>
          <a:bodyPr/>
          <a:lstStyle>
            <a:lvl1pPr>
              <a:defRPr sz="3200"/>
            </a:lvl1pPr>
            <a:lvl2pPr>
              <a:defRPr lang="de-DE" sz="3200" kern="1200" dirty="0" smtClean="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>
              <a:defRPr sz="2700"/>
            </a:lvl3pPr>
            <a:lvl4pPr>
              <a:defRPr lang="de-DE" sz="2100" kern="1200" dirty="0" smtClean="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>
              <a:defRPr sz="21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5574140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EB3054-B75A-4BD7-8B3E-8DC0F614FAF3}" type="datetimeFigureOut">
              <a:rPr lang="de-DE" smtClean="0"/>
              <a:t>20.01.2021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006FE-6571-4354-8775-F8708372C22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429017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EB3054-B75A-4BD7-8B3E-8DC0F614FAF3}" type="datetimeFigureOut">
              <a:rPr lang="de-DE" smtClean="0"/>
              <a:t>20.01.2021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006FE-6571-4354-8775-F8708372C22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2408403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EB3054-B75A-4BD7-8B3E-8DC0F614FAF3}" type="datetimeFigureOut">
              <a:rPr lang="de-DE" smtClean="0"/>
              <a:t>20.01.2021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006FE-6571-4354-8775-F8708372C22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4020644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EB3054-B75A-4BD7-8B3E-8DC0F614FAF3}" type="datetimeFigureOut">
              <a:rPr lang="de-DE" smtClean="0"/>
              <a:t>20.01.2021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006FE-6571-4354-8775-F8708372C22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8769283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EB3054-B75A-4BD7-8B3E-8DC0F614FAF3}" type="datetimeFigureOut">
              <a:rPr lang="de-DE" smtClean="0"/>
              <a:t>20.01.2021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006FE-6571-4354-8775-F8708372C22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5388323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EB3054-B75A-4BD7-8B3E-8DC0F614FAF3}" type="datetimeFigureOut">
              <a:rPr lang="de-DE" smtClean="0"/>
              <a:t>20.01.2021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006FE-6571-4354-8775-F8708372C22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0988877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14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ags" Target="../tags/tag1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vmlDrawing" Target="../drawings/vmlDrawing2.v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theme" Target="../theme/theme3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6.xml"/><Relationship Id="rId16" Type="http://schemas.openxmlformats.org/officeDocument/2006/relationships/oleObject" Target="../embeddings/oleObject2.bin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tags" Target="../tags/tag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slideLayout" Target="../slideLayouts/slideLayout28.xml"/><Relationship Id="rId7" Type="http://schemas.openxmlformats.org/officeDocument/2006/relationships/oleObject" Target="../embeddings/oleObject3.bin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tags" Target="../tags/tag4.xml"/><Relationship Id="rId5" Type="http://schemas.openxmlformats.org/officeDocument/2006/relationships/vmlDrawing" Target="../drawings/vmlDrawing3.vml"/><Relationship Id="rId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theme" Target="../theme/theme5.xml"/><Relationship Id="rId7" Type="http://schemas.openxmlformats.org/officeDocument/2006/relationships/image" Target="../media/image3.emf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oleObject" Target="../embeddings/oleObject4.bin"/><Relationship Id="rId5" Type="http://schemas.openxmlformats.org/officeDocument/2006/relationships/tags" Target="../tags/tag5.xml"/><Relationship Id="rId4" Type="http://schemas.openxmlformats.org/officeDocument/2006/relationships/vmlDrawing" Target="../drawings/vmlDrawing4.v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5" Type="http://schemas.openxmlformats.org/officeDocument/2006/relationships/theme" Target="../theme/theme6.xml"/><Relationship Id="rId4" Type="http://schemas.openxmlformats.org/officeDocument/2006/relationships/slideLayout" Target="../slideLayouts/slideLayout34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theme" Target="../theme/theme7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oleObject" Target="../embeddings/oleObject5.bin"/><Relationship Id="rId5" Type="http://schemas.openxmlformats.org/officeDocument/2006/relationships/tags" Target="../tags/tag6.xml"/><Relationship Id="rId4" Type="http://schemas.openxmlformats.org/officeDocument/2006/relationships/vmlDrawing" Target="../drawings/vmlDrawing5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3EB3054-B75A-4BD7-8B3E-8DC0F614FAF3}" type="datetimeFigureOut">
              <a:rPr lang="de-DE" smtClean="0"/>
              <a:t>20.01.2021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02006FE-6571-4354-8775-F8708372C22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947254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3" r:id="rId1"/>
    <p:sldLayoutId id="2147483854" r:id="rId2"/>
    <p:sldLayoutId id="2147483855" r:id="rId3"/>
    <p:sldLayoutId id="2147483856" r:id="rId4"/>
    <p:sldLayoutId id="2147483857" r:id="rId5"/>
    <p:sldLayoutId id="2147483858" r:id="rId6"/>
    <p:sldLayoutId id="2147483859" r:id="rId7"/>
    <p:sldLayoutId id="2147483860" r:id="rId8"/>
    <p:sldLayoutId id="2147483861" r:id="rId9"/>
    <p:sldLayoutId id="2147483862" r:id="rId10"/>
    <p:sldLayoutId id="214748386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32379D84-70F0-430B-BBFB-5F1F108282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522258951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think-cell Folie" r:id="rId7" imgW="344" imgH="345" progId="TCLayout.ActiveDocument.1">
                  <p:embed/>
                </p:oleObj>
              </mc:Choice>
              <mc:Fallback>
                <p:oleObj name="think-cell Folie" r:id="rId7" imgW="344" imgH="345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32379D84-70F0-430B-BBFB-5F1F108282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0" name="Titelplatzhalter 1">
            <a:extLst>
              <a:ext uri="{FF2B5EF4-FFF2-40B4-BE49-F238E27FC236}">
                <a16:creationId xmlns:a16="http://schemas.microsoft.com/office/drawing/2014/main" id="{1AABDF5C-2FCD-42E8-B0AF-F0B62648D7CF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09600" y="275167"/>
            <a:ext cx="109728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/>
              <a:t>Titelmasterformat durch Klicken bearbeiten</a:t>
            </a:r>
          </a:p>
        </p:txBody>
      </p:sp>
      <p:sp>
        <p:nvSpPr>
          <p:cNvPr id="2051" name="Textplatzhalter 2">
            <a:extLst>
              <a:ext uri="{FF2B5EF4-FFF2-40B4-BE49-F238E27FC236}">
                <a16:creationId xmlns:a16="http://schemas.microsoft.com/office/drawing/2014/main" id="{4089D277-58DC-42EF-86F0-356396515274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09600" y="1600201"/>
            <a:ext cx="10972800" cy="45254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/>
              <a:t>Textmasterformate durch Klicken bearbeiten</a:t>
            </a:r>
          </a:p>
          <a:p>
            <a:pPr lvl="1"/>
            <a:r>
              <a:rPr lang="de-DE" altLang="de-DE"/>
              <a:t>Zweite Ebene</a:t>
            </a:r>
          </a:p>
          <a:p>
            <a:pPr lvl="2"/>
            <a:r>
              <a:rPr lang="de-DE" altLang="de-DE"/>
              <a:t>Dritte Ebene</a:t>
            </a:r>
          </a:p>
          <a:p>
            <a:pPr lvl="3"/>
            <a:r>
              <a:rPr lang="de-DE" altLang="de-DE"/>
              <a:t>Vierte Ebene</a:t>
            </a:r>
          </a:p>
          <a:p>
            <a:pPr lvl="4"/>
            <a:r>
              <a:rPr lang="de-DE" alt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24F708B-1599-4A68-B412-C191CC5E0F5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618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100">
                <a:solidFill>
                  <a:schemeClr val="tx1"/>
                </a:solidFill>
                <a:latin typeface="Verdana" pitchFamily="34" charset="0"/>
              </a:defRPr>
            </a:lvl1pPr>
          </a:lstStyle>
          <a:p>
            <a:pPr>
              <a:defRPr/>
            </a:pPr>
            <a:fld id="{D83FE7A2-369B-4312-B248-438201748E3F}" type="datetime4">
              <a:rPr lang="de-DE"/>
              <a:pPr>
                <a:defRPr/>
              </a:pPr>
              <a:t>20. Januar 2021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4595292-A62C-43A9-80E8-CEF95AFCAC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618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100">
                <a:solidFill>
                  <a:schemeClr val="tx1"/>
                </a:solidFill>
                <a:latin typeface="Verdana" pitchFamily="34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4A5DCB1-944F-4F88-B88D-428E05ADF15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6183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1100">
                <a:latin typeface="Verdana" panose="020B0604030504040204" pitchFamily="34" charset="0"/>
              </a:defRPr>
            </a:lvl1pPr>
          </a:lstStyle>
          <a:p>
            <a:fld id="{36831914-162D-4659-ADE9-09D5F2032FB1}" type="slidenum">
              <a:rPr lang="de-DE" altLang="de-DE"/>
              <a:pPr/>
              <a:t>‹Nr.›</a:t>
            </a:fld>
            <a:endParaRPr lang="de-DE" alt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66" r:id="rId1"/>
    <p:sldLayoutId id="2147483867" r:id="rId2"/>
    <p:sldLayoutId id="2147483851" r:id="rId3"/>
  </p:sldLayoutIdLst>
  <p:hf hd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 kern="1200">
          <a:solidFill>
            <a:schemeClr val="tx1"/>
          </a:solidFill>
          <a:latin typeface="Verdana" pitchFamily="34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Verdan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Verdan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Verdan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Verdana" pitchFamily="34" charset="0"/>
        </a:defRPr>
      </a:lvl5pPr>
      <a:lvl6pPr marL="609585" algn="ctr" rtl="0" fontAlgn="base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Calibri" pitchFamily="34" charset="0"/>
        </a:defRPr>
      </a:lvl6pPr>
      <a:lvl7pPr marL="1219170" algn="ctr" rtl="0" fontAlgn="base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Calibri" pitchFamily="34" charset="0"/>
        </a:defRPr>
      </a:lvl7pPr>
      <a:lvl8pPr marL="1828754" algn="ctr" rtl="0" fontAlgn="base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Calibri" pitchFamily="34" charset="0"/>
        </a:defRPr>
      </a:lvl8pPr>
      <a:lvl9pPr marL="2438339" algn="ctr" rtl="0" fontAlgn="base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Calibri" pitchFamily="34" charset="0"/>
        </a:defRPr>
      </a:lvl9pPr>
    </p:titleStyle>
    <p:bodyStyle>
      <a:lvl1pPr marL="457189" indent="-457189" algn="l" rtl="0" eaLnBrk="0" fontAlgn="base" hangingPunct="0">
        <a:spcBef>
          <a:spcPct val="20000"/>
        </a:spcBef>
        <a:spcAft>
          <a:spcPct val="0"/>
        </a:spcAft>
        <a:defRPr sz="3200" kern="1200">
          <a:solidFill>
            <a:schemeClr val="tx1"/>
          </a:solidFill>
          <a:latin typeface="Verdana" pitchFamily="34" charset="0"/>
          <a:ea typeface="+mn-ea"/>
          <a:cs typeface="+mn-cs"/>
        </a:defRPr>
      </a:lvl1pPr>
      <a:lvl2pPr marL="990575" indent="-380990" algn="l" rtl="0" eaLnBrk="0" fontAlgn="base" hangingPunct="0">
        <a:spcBef>
          <a:spcPts val="3200"/>
        </a:spcBef>
        <a:spcAft>
          <a:spcPct val="0"/>
        </a:spcAft>
        <a:defRPr sz="3200" kern="1200">
          <a:solidFill>
            <a:schemeClr val="tx1"/>
          </a:solidFill>
          <a:latin typeface="Verdana" pitchFamily="34" charset="0"/>
          <a:ea typeface="+mn-ea"/>
          <a:cs typeface="+mn-cs"/>
        </a:defRPr>
      </a:lvl2pPr>
      <a:lvl3pPr marL="965176" indent="-474121" algn="l" rtl="0" eaLnBrk="0" fontAlgn="base" hangingPunct="0">
        <a:spcBef>
          <a:spcPct val="20000"/>
        </a:spcBef>
        <a:spcAft>
          <a:spcPct val="0"/>
        </a:spcAft>
        <a:buFont typeface="Verdana" panose="020B0604030504040204" pitchFamily="34" charset="0"/>
        <a:buChar char="&gt;"/>
        <a:defRPr sz="3200" kern="1200">
          <a:solidFill>
            <a:schemeClr val="tx1"/>
          </a:solidFill>
          <a:latin typeface="Verdana" pitchFamily="34" charset="0"/>
          <a:ea typeface="+mn-ea"/>
          <a:cs typeface="+mn-cs"/>
        </a:defRPr>
      </a:lvl3pPr>
      <a:lvl4pPr marL="2133547" indent="-304792" algn="l" rtl="0" eaLnBrk="0" fontAlgn="base" hangingPunct="0">
        <a:spcBef>
          <a:spcPts val="2133"/>
        </a:spcBef>
        <a:spcAft>
          <a:spcPct val="0"/>
        </a:spcAft>
        <a:buFont typeface="Arial" panose="020B0604020202020204" pitchFamily="34" charset="0"/>
        <a:defRPr sz="2100" kern="1200">
          <a:solidFill>
            <a:schemeClr val="tx1"/>
          </a:solidFill>
          <a:latin typeface="Verdana" pitchFamily="34" charset="0"/>
          <a:ea typeface="+mn-ea"/>
          <a:cs typeface="+mn-cs"/>
        </a:defRPr>
      </a:lvl4pPr>
      <a:lvl5pPr marL="965176" indent="-491054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&gt;"/>
        <a:defRPr sz="2100" kern="1200">
          <a:solidFill>
            <a:schemeClr val="tx1"/>
          </a:solidFill>
          <a:latin typeface="Verdana" pitchFamily="34" charset="0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2895334-6371-4372-BC5E-0AE6D4881F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718115519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1" name="think-cell Folie" r:id="rId16" imgW="344" imgH="345" progId="TCLayout.ActiveDocument.1">
                  <p:embed/>
                </p:oleObj>
              </mc:Choice>
              <mc:Fallback>
                <p:oleObj name="think-cell Folie" r:id="rId16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2895334-6371-4372-BC5E-0AE6D4881F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271D5A9A-78D8-41E6-8965-80075DBB3976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95666346-6E61-49A7-98DC-F1F17AFFE5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63DCBF2-9D4F-4572-A66B-0F7885DF02B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A6AAA14-EBAB-4675-8830-84880540B5D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083CB48-156A-445C-BB55-10CB47AF77D9}" type="datetimeFigureOut">
              <a:rPr lang="de-DE" smtClean="0"/>
              <a:t>20.01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C179023-B05E-416A-9BD6-3FB1A896C1C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966B7DC-37F8-4EF3-B789-DC767EE28F4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6D95258-EE48-4D6E-84ED-4FA5D234561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027754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7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132D79C-D1B1-4ABC-8DCD-5888555C72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650211828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90" name="think-cell Folie" r:id="rId7" imgW="351" imgH="351" progId="TCLayout.ActiveDocument.1">
                  <p:embed/>
                </p:oleObj>
              </mc:Choice>
              <mc:Fallback>
                <p:oleObj name="think-cell Folie" r:id="rId7" imgW="351" imgH="351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4132D79C-D1B1-4ABC-8DCD-5888555C72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elplatzhalter 1">
            <a:extLst>
              <a:ext uri="{FF2B5EF4-FFF2-40B4-BE49-F238E27FC236}">
                <a16:creationId xmlns:a16="http://schemas.microsoft.com/office/drawing/2014/main" id="{0DEA5CD2-2CCE-4789-A775-2B2412DB6D56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09600" y="275167"/>
            <a:ext cx="109728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/>
              <a:t>Titelmasterformat durch Klicken bearbeiten</a:t>
            </a:r>
          </a:p>
        </p:txBody>
      </p:sp>
      <p:sp>
        <p:nvSpPr>
          <p:cNvPr id="1027" name="Textplatzhalter 2">
            <a:extLst>
              <a:ext uri="{FF2B5EF4-FFF2-40B4-BE49-F238E27FC236}">
                <a16:creationId xmlns:a16="http://schemas.microsoft.com/office/drawing/2014/main" id="{E40E7A25-2EE5-4243-B84E-B7147C78DB1D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09600" y="1600201"/>
            <a:ext cx="10972800" cy="45254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/>
              <a:t>Textmasterformate durch Klicken bearbeiten</a:t>
            </a:r>
          </a:p>
          <a:p>
            <a:pPr lvl="1"/>
            <a:r>
              <a:rPr lang="de-DE" altLang="de-DE"/>
              <a:t>Zweite Ebene</a:t>
            </a:r>
          </a:p>
          <a:p>
            <a:pPr lvl="2"/>
            <a:r>
              <a:rPr lang="de-DE" altLang="de-DE"/>
              <a:t>Dritte Ebene</a:t>
            </a:r>
          </a:p>
          <a:p>
            <a:pPr lvl="3"/>
            <a:r>
              <a:rPr lang="de-DE" altLang="de-DE"/>
              <a:t>Vierte Ebene</a:t>
            </a:r>
          </a:p>
          <a:p>
            <a:pPr lvl="4"/>
            <a:r>
              <a:rPr lang="de-DE" alt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3B06DA3-B6D9-42EF-B0CC-BDD5261B159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618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100">
                <a:solidFill>
                  <a:schemeClr val="tx1"/>
                </a:solidFill>
                <a:latin typeface="Verdana" pitchFamily="34" charset="0"/>
              </a:defRPr>
            </a:lvl1pPr>
          </a:lstStyle>
          <a:p>
            <a:pPr>
              <a:defRPr/>
            </a:pPr>
            <a:fld id="{F1846743-8988-4B61-ABD5-703246EC9138}" type="datetime4">
              <a:rPr lang="de-DE"/>
              <a:pPr>
                <a:defRPr/>
              </a:pPr>
              <a:t>20. Januar 2021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1A41A42-FC5B-44FC-844E-C451F9D997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618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100">
                <a:solidFill>
                  <a:schemeClr val="tx1"/>
                </a:solidFill>
                <a:latin typeface="Verdana" pitchFamily="34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53989C2-86B9-4902-AF81-1F46BD80C3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6183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1100">
                <a:latin typeface="Verdana" panose="020B0604030504040204" pitchFamily="34" charset="0"/>
              </a:defRPr>
            </a:lvl1pPr>
          </a:lstStyle>
          <a:p>
            <a:fld id="{CD99765E-5618-4FE1-BC08-B1A28EC56F15}" type="slidenum">
              <a:rPr lang="de-DE" altLang="de-DE"/>
              <a:pPr/>
              <a:t>‹Nr.›</a:t>
            </a:fld>
            <a:endParaRPr lang="de-DE" alt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46" r:id="rId1"/>
    <p:sldLayoutId id="2147483847" r:id="rId2"/>
    <p:sldLayoutId id="2147483848" r:id="rId3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200" kern="1200">
          <a:solidFill>
            <a:schemeClr val="tx1"/>
          </a:solidFill>
          <a:latin typeface="Verdana" pitchFamily="34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Verdana" pitchFamily="34" charset="0"/>
        </a:defRPr>
      </a:lvl5pPr>
      <a:lvl6pPr marL="609585" algn="ctr" rtl="0" eaLnBrk="1" fontAlgn="base" hangingPunct="1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Calibri" pitchFamily="34" charset="0"/>
        </a:defRPr>
      </a:lvl6pPr>
      <a:lvl7pPr marL="1219170" algn="ctr" rtl="0" eaLnBrk="1" fontAlgn="base" hangingPunct="1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Calibri" pitchFamily="34" charset="0"/>
        </a:defRPr>
      </a:lvl7pPr>
      <a:lvl8pPr marL="1828754" algn="ctr" rtl="0" eaLnBrk="1" fontAlgn="base" hangingPunct="1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Calibri" pitchFamily="34" charset="0"/>
        </a:defRPr>
      </a:lvl8pPr>
      <a:lvl9pPr marL="2438339" algn="ctr" rtl="0" eaLnBrk="1" fontAlgn="base" hangingPunct="1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Calibri" pitchFamily="34" charset="0"/>
        </a:defRPr>
      </a:lvl9pPr>
    </p:titleStyle>
    <p:bodyStyle>
      <a:lvl1pPr marL="457189" indent="-457189" algn="l" rtl="0" eaLnBrk="1" fontAlgn="base" hangingPunct="1">
        <a:spcBef>
          <a:spcPct val="20000"/>
        </a:spcBef>
        <a:spcAft>
          <a:spcPct val="0"/>
        </a:spcAft>
        <a:defRPr sz="3200" kern="1200">
          <a:solidFill>
            <a:schemeClr val="tx1"/>
          </a:solidFill>
          <a:latin typeface="Verdana" pitchFamily="34" charset="0"/>
          <a:ea typeface="+mn-ea"/>
          <a:cs typeface="+mn-cs"/>
        </a:defRPr>
      </a:lvl1pPr>
      <a:lvl2pPr marL="990575" indent="-380990" algn="l" rtl="0" eaLnBrk="1" fontAlgn="base" hangingPunct="1">
        <a:spcBef>
          <a:spcPts val="2667"/>
        </a:spcBef>
        <a:spcAft>
          <a:spcPct val="0"/>
        </a:spcAft>
        <a:defRPr sz="3200" kern="1200">
          <a:solidFill>
            <a:schemeClr val="tx1"/>
          </a:solidFill>
          <a:latin typeface="Verdana" pitchFamily="34" charset="0"/>
          <a:ea typeface="+mn-ea"/>
          <a:cs typeface="+mn-cs"/>
        </a:defRPr>
      </a:lvl2pPr>
      <a:lvl3pPr marL="965176" indent="-491054" algn="l" rtl="0" eaLnBrk="1" fontAlgn="base" hangingPunct="1">
        <a:spcBef>
          <a:spcPct val="20000"/>
        </a:spcBef>
        <a:spcAft>
          <a:spcPct val="0"/>
        </a:spcAft>
        <a:buFont typeface="Verdana" panose="020B0604030504040204" pitchFamily="34" charset="0"/>
        <a:buChar char="&gt;"/>
        <a:defRPr sz="3200" kern="1200">
          <a:solidFill>
            <a:schemeClr val="tx1"/>
          </a:solidFill>
          <a:latin typeface="Verdana" pitchFamily="34" charset="0"/>
          <a:ea typeface="+mn-ea"/>
          <a:cs typeface="+mn-cs"/>
        </a:defRPr>
      </a:lvl3pPr>
      <a:lvl4pPr marL="2133547" indent="-304792" algn="l" rtl="0" eaLnBrk="1" fontAlgn="base" hangingPunct="1">
        <a:spcBef>
          <a:spcPts val="2133"/>
        </a:spcBef>
        <a:spcAft>
          <a:spcPct val="0"/>
        </a:spcAft>
        <a:buFont typeface="Arial" panose="020B0604020202020204" pitchFamily="34" charset="0"/>
        <a:defRPr sz="2100" kern="1200">
          <a:solidFill>
            <a:schemeClr val="tx1"/>
          </a:solidFill>
          <a:latin typeface="Verdana" pitchFamily="34" charset="0"/>
          <a:ea typeface="+mn-ea"/>
          <a:cs typeface="+mn-cs"/>
        </a:defRPr>
      </a:lvl4pPr>
      <a:lvl5pPr marL="965176" indent="-491054" algn="l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&gt;"/>
        <a:defRPr sz="2100" kern="1200">
          <a:solidFill>
            <a:schemeClr val="tx1"/>
          </a:solidFill>
          <a:latin typeface="Verdana" pitchFamily="34" charset="0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33642707-9618-4E6F-A8A1-6E3EDA2EB35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739592828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58" name="think-cell Folie" r:id="rId6" imgW="351" imgH="351" progId="TCLayout.ActiveDocument.1">
                  <p:embed/>
                </p:oleObj>
              </mc:Choice>
              <mc:Fallback>
                <p:oleObj name="think-cell Folie" r:id="rId6" imgW="351" imgH="351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33642707-9618-4E6F-A8A1-6E3EDA2EB3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0" name="Titelplatzhalter 1">
            <a:extLst>
              <a:ext uri="{FF2B5EF4-FFF2-40B4-BE49-F238E27FC236}">
                <a16:creationId xmlns:a16="http://schemas.microsoft.com/office/drawing/2014/main" id="{46B4AED0-B077-4006-A1A1-1B811277E5C5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09600" y="275167"/>
            <a:ext cx="109728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/>
              <a:t>Titelmasterformat durch Klicken bearbeiten</a:t>
            </a:r>
          </a:p>
        </p:txBody>
      </p:sp>
      <p:sp>
        <p:nvSpPr>
          <p:cNvPr id="2051" name="Textplatzhalter 2">
            <a:extLst>
              <a:ext uri="{FF2B5EF4-FFF2-40B4-BE49-F238E27FC236}">
                <a16:creationId xmlns:a16="http://schemas.microsoft.com/office/drawing/2014/main" id="{3BFA5155-848E-4351-8219-05153C40E7E7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09600" y="1600201"/>
            <a:ext cx="10972800" cy="45254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/>
              <a:t>Textmasterformate durch Klicken bearbeiten</a:t>
            </a:r>
          </a:p>
          <a:p>
            <a:pPr lvl="1"/>
            <a:r>
              <a:rPr lang="de-DE" altLang="de-DE"/>
              <a:t>Zweite Ebene</a:t>
            </a:r>
          </a:p>
          <a:p>
            <a:pPr lvl="2"/>
            <a:r>
              <a:rPr lang="de-DE" altLang="de-DE"/>
              <a:t>Dritte Ebene</a:t>
            </a:r>
          </a:p>
          <a:p>
            <a:pPr lvl="3"/>
            <a:r>
              <a:rPr lang="de-DE" altLang="de-DE"/>
              <a:t>Vierte Ebene</a:t>
            </a:r>
          </a:p>
          <a:p>
            <a:pPr lvl="4"/>
            <a:r>
              <a:rPr lang="de-DE" alt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7841DF2-6045-45D5-8791-5AF128588ED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618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100">
                <a:solidFill>
                  <a:schemeClr val="tx1"/>
                </a:solidFill>
                <a:latin typeface="Verdana" pitchFamily="34" charset="0"/>
              </a:defRPr>
            </a:lvl1pPr>
          </a:lstStyle>
          <a:p>
            <a:pPr>
              <a:defRPr/>
            </a:pPr>
            <a:fld id="{EA876D29-6CB3-44A6-B84E-5B33D78AFFC2}" type="datetime4">
              <a:rPr lang="de-DE"/>
              <a:pPr>
                <a:defRPr/>
              </a:pPr>
              <a:t>20. Januar 2021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CEBE0DA-5013-4CB6-945B-655E236670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618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100">
                <a:solidFill>
                  <a:schemeClr val="tx1"/>
                </a:solidFill>
                <a:latin typeface="Verdana" pitchFamily="34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0F797A0-5630-4E3D-B607-2C75690DC05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6183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1100">
                <a:latin typeface="Verdana" panose="020B0604030504040204" pitchFamily="34" charset="0"/>
              </a:defRPr>
            </a:lvl1pPr>
          </a:lstStyle>
          <a:p>
            <a:fld id="{3524AFFF-09B8-47A4-AE08-E01D0CF6A731}" type="slidenum">
              <a:rPr lang="de-DE" altLang="de-DE"/>
              <a:pPr/>
              <a:t>‹Nr.›</a:t>
            </a:fld>
            <a:endParaRPr lang="de-DE" alt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69" r:id="rId1"/>
    <p:sldLayoutId id="2147483870" r:id="rId2"/>
  </p:sldLayoutIdLst>
  <p:hf hd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 kern="1200">
          <a:solidFill>
            <a:schemeClr val="tx1"/>
          </a:solidFill>
          <a:latin typeface="Verdana" pitchFamily="34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Verdan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Verdan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Verdan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Verdana" pitchFamily="34" charset="0"/>
        </a:defRPr>
      </a:lvl5pPr>
      <a:lvl6pPr marL="609585" algn="ctr" rtl="0" fontAlgn="base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Calibri" pitchFamily="34" charset="0"/>
        </a:defRPr>
      </a:lvl6pPr>
      <a:lvl7pPr marL="1219170" algn="ctr" rtl="0" fontAlgn="base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Calibri" pitchFamily="34" charset="0"/>
        </a:defRPr>
      </a:lvl7pPr>
      <a:lvl8pPr marL="1828754" algn="ctr" rtl="0" fontAlgn="base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Calibri" pitchFamily="34" charset="0"/>
        </a:defRPr>
      </a:lvl8pPr>
      <a:lvl9pPr marL="2438339" algn="ctr" rtl="0" fontAlgn="base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Calibri" pitchFamily="34" charset="0"/>
        </a:defRPr>
      </a:lvl9pPr>
    </p:titleStyle>
    <p:bodyStyle>
      <a:lvl1pPr marL="457189" indent="-457189" algn="l" rtl="0" eaLnBrk="0" fontAlgn="base" hangingPunct="0">
        <a:spcBef>
          <a:spcPct val="20000"/>
        </a:spcBef>
        <a:spcAft>
          <a:spcPct val="0"/>
        </a:spcAft>
        <a:defRPr sz="3200" kern="1200">
          <a:solidFill>
            <a:schemeClr val="tx1"/>
          </a:solidFill>
          <a:latin typeface="Verdana" pitchFamily="34" charset="0"/>
          <a:ea typeface="+mn-ea"/>
          <a:cs typeface="+mn-cs"/>
        </a:defRPr>
      </a:lvl1pPr>
      <a:lvl2pPr marL="990575" indent="-380990" algn="l" rtl="0" eaLnBrk="0" fontAlgn="base" hangingPunct="0">
        <a:spcBef>
          <a:spcPts val="3200"/>
        </a:spcBef>
        <a:spcAft>
          <a:spcPct val="0"/>
        </a:spcAft>
        <a:defRPr sz="3200" kern="1200">
          <a:solidFill>
            <a:schemeClr val="tx1"/>
          </a:solidFill>
          <a:latin typeface="Verdana" pitchFamily="34" charset="0"/>
          <a:ea typeface="+mn-ea"/>
          <a:cs typeface="+mn-cs"/>
        </a:defRPr>
      </a:lvl2pPr>
      <a:lvl3pPr marL="965176" indent="-474121" algn="l" rtl="0" eaLnBrk="0" fontAlgn="base" hangingPunct="0">
        <a:spcBef>
          <a:spcPct val="20000"/>
        </a:spcBef>
        <a:spcAft>
          <a:spcPct val="0"/>
        </a:spcAft>
        <a:buFont typeface="Verdana" panose="020B0604030504040204" pitchFamily="34" charset="0"/>
        <a:buChar char="&gt;"/>
        <a:defRPr sz="3200" kern="1200">
          <a:solidFill>
            <a:schemeClr val="tx1"/>
          </a:solidFill>
          <a:latin typeface="Verdana" pitchFamily="34" charset="0"/>
          <a:ea typeface="+mn-ea"/>
          <a:cs typeface="+mn-cs"/>
        </a:defRPr>
      </a:lvl3pPr>
      <a:lvl4pPr marL="2133547" indent="-304792" algn="l" rtl="0" eaLnBrk="0" fontAlgn="base" hangingPunct="0">
        <a:spcBef>
          <a:spcPts val="2133"/>
        </a:spcBef>
        <a:spcAft>
          <a:spcPct val="0"/>
        </a:spcAft>
        <a:buFont typeface="Arial" panose="020B0604020202020204" pitchFamily="34" charset="0"/>
        <a:defRPr sz="2100" kern="1200">
          <a:solidFill>
            <a:schemeClr val="tx1"/>
          </a:solidFill>
          <a:latin typeface="Verdana" pitchFamily="34" charset="0"/>
          <a:ea typeface="+mn-ea"/>
          <a:cs typeface="+mn-cs"/>
        </a:defRPr>
      </a:lvl4pPr>
      <a:lvl5pPr marL="965176" indent="-491054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&gt;"/>
        <a:defRPr sz="2100" kern="1200">
          <a:solidFill>
            <a:schemeClr val="tx1"/>
          </a:solidFill>
          <a:latin typeface="Verdana" pitchFamily="34" charset="0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elplatzhalter 1">
            <a:extLst>
              <a:ext uri="{FF2B5EF4-FFF2-40B4-BE49-F238E27FC236}">
                <a16:creationId xmlns:a16="http://schemas.microsoft.com/office/drawing/2014/main" id="{ACF80233-75BD-46CD-ADC2-5C0DF53C46E5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09600" y="275167"/>
            <a:ext cx="109728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/>
              <a:t>Titelmasterformat durch Klicken bearbeiten</a:t>
            </a:r>
          </a:p>
        </p:txBody>
      </p:sp>
      <p:sp>
        <p:nvSpPr>
          <p:cNvPr id="1027" name="Textplatzhalter 2">
            <a:extLst>
              <a:ext uri="{FF2B5EF4-FFF2-40B4-BE49-F238E27FC236}">
                <a16:creationId xmlns:a16="http://schemas.microsoft.com/office/drawing/2014/main" id="{53934DC2-7957-4DE0-9D6B-976423B4D541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09600" y="1600201"/>
            <a:ext cx="10972800" cy="45254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/>
              <a:t>Textmasterformate durch Klicken bearbeiten</a:t>
            </a:r>
          </a:p>
          <a:p>
            <a:pPr lvl="1"/>
            <a:r>
              <a:rPr lang="de-DE" altLang="de-DE"/>
              <a:t>Zweite Ebene</a:t>
            </a:r>
          </a:p>
          <a:p>
            <a:pPr lvl="2"/>
            <a:r>
              <a:rPr lang="de-DE" altLang="de-DE"/>
              <a:t>Dritte Ebene</a:t>
            </a:r>
          </a:p>
          <a:p>
            <a:pPr lvl="3"/>
            <a:r>
              <a:rPr lang="de-DE" altLang="de-DE"/>
              <a:t>Vierte Ebene</a:t>
            </a:r>
          </a:p>
          <a:p>
            <a:pPr lvl="4"/>
            <a:r>
              <a:rPr lang="de-DE" alt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27465BF-F39D-44CA-B0B1-777BE6116CB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618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067">
                <a:solidFill>
                  <a:schemeClr val="tx1"/>
                </a:solidFill>
                <a:latin typeface="Verdana" pitchFamily="34" charset="0"/>
              </a:defRPr>
            </a:lvl1pPr>
          </a:lstStyle>
          <a:p>
            <a:fld id="{07A00F3E-B992-4FDB-AD63-C5B6EE51E1F5}" type="datetimeFigureOut">
              <a:rPr lang="en-US" smtClean="0"/>
              <a:t>1/20/2021</a:t>
            </a:fld>
            <a:endParaRPr lang="en-US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156979B-93D1-49B6-9508-F6D8D60C9C8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618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067">
                <a:solidFill>
                  <a:schemeClr val="tx1"/>
                </a:solidFill>
                <a:latin typeface="Verdana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0F5F4A9-6ACF-45CD-9774-5CE330632D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6183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1067">
                <a:latin typeface="Verdana" panose="020B0604030504040204" pitchFamily="34" charset="0"/>
              </a:defRPr>
            </a:lvl1pPr>
          </a:lstStyle>
          <a:p>
            <a:fld id="{FD0A482D-1664-4CB0-8EDE-AAB38034A70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24068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2" r:id="rId4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3200" kern="1200">
          <a:solidFill>
            <a:schemeClr val="tx1"/>
          </a:solidFill>
          <a:latin typeface="Verdana" pitchFamily="34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Verdana" pitchFamily="34" charset="0"/>
        </a:defRPr>
      </a:lvl5pPr>
      <a:lvl6pPr marL="609585" algn="ctr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</a:defRPr>
      </a:lvl6pPr>
      <a:lvl7pPr marL="1219170" algn="ctr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</a:defRPr>
      </a:lvl7pPr>
      <a:lvl8pPr marL="1828754" algn="ctr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</a:defRPr>
      </a:lvl8pPr>
      <a:lvl9pPr marL="2438339" algn="ctr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</a:defRPr>
      </a:lvl9pPr>
    </p:titleStyle>
    <p:bodyStyle>
      <a:lvl1pPr marL="457189" indent="-457189" algn="l" rtl="0" eaLnBrk="1" fontAlgn="base" hangingPunct="1">
        <a:spcBef>
          <a:spcPct val="20000"/>
        </a:spcBef>
        <a:spcAft>
          <a:spcPct val="0"/>
        </a:spcAft>
        <a:defRPr sz="3200" kern="1200">
          <a:solidFill>
            <a:schemeClr val="tx1"/>
          </a:solidFill>
          <a:latin typeface="Verdana" pitchFamily="34" charset="0"/>
          <a:ea typeface="+mn-ea"/>
          <a:cs typeface="+mn-cs"/>
        </a:defRPr>
      </a:lvl1pPr>
      <a:lvl2pPr marL="990575" indent="-380990" algn="l" rtl="0" eaLnBrk="1" fontAlgn="base" hangingPunct="1">
        <a:spcBef>
          <a:spcPts val="2667"/>
        </a:spcBef>
        <a:spcAft>
          <a:spcPct val="0"/>
        </a:spcAft>
        <a:defRPr sz="3200" kern="1200">
          <a:solidFill>
            <a:schemeClr val="tx1"/>
          </a:solidFill>
          <a:latin typeface="Verdana" pitchFamily="34" charset="0"/>
          <a:ea typeface="+mn-ea"/>
          <a:cs typeface="+mn-cs"/>
        </a:defRPr>
      </a:lvl2pPr>
      <a:lvl3pPr marL="965176" indent="-491054" algn="l" rtl="0" eaLnBrk="1" fontAlgn="base" hangingPunct="1">
        <a:spcBef>
          <a:spcPct val="20000"/>
        </a:spcBef>
        <a:spcAft>
          <a:spcPct val="0"/>
        </a:spcAft>
        <a:buFont typeface="Verdana" panose="020B0604030504040204" pitchFamily="34" charset="0"/>
        <a:buChar char="&gt;"/>
        <a:defRPr sz="3200" kern="1200">
          <a:solidFill>
            <a:schemeClr val="tx1"/>
          </a:solidFill>
          <a:latin typeface="Verdana" pitchFamily="34" charset="0"/>
          <a:ea typeface="+mn-ea"/>
          <a:cs typeface="+mn-cs"/>
        </a:defRPr>
      </a:lvl3pPr>
      <a:lvl4pPr marL="2133547" indent="-304792" algn="l" rtl="0" eaLnBrk="1" fontAlgn="base" hangingPunct="1">
        <a:spcBef>
          <a:spcPts val="2133"/>
        </a:spcBef>
        <a:spcAft>
          <a:spcPct val="0"/>
        </a:spcAft>
        <a:buFont typeface="Arial" panose="020B0604020202020204" pitchFamily="34" charset="0"/>
        <a:defRPr sz="2133" kern="1200">
          <a:solidFill>
            <a:schemeClr val="tx1"/>
          </a:solidFill>
          <a:latin typeface="Verdana" pitchFamily="34" charset="0"/>
          <a:ea typeface="+mn-ea"/>
          <a:cs typeface="+mn-cs"/>
        </a:defRPr>
      </a:lvl4pPr>
      <a:lvl5pPr marL="965176" indent="-491054" algn="l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&gt;"/>
        <a:defRPr sz="2133" kern="1200">
          <a:solidFill>
            <a:schemeClr val="tx1"/>
          </a:solidFill>
          <a:latin typeface="Verdana" pitchFamily="34" charset="0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0633262-8C30-47C3-8A3D-46AE8DAF17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558524844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051" name="think-cell Folie" r:id="rId6" imgW="344" imgH="345" progId="TCLayout.ActiveDocument.1">
                  <p:embed/>
                </p:oleObj>
              </mc:Choice>
              <mc:Fallback>
                <p:oleObj name="think-cell Folie" r:id="rId6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0633262-8C30-47C3-8A3D-46AE8DAF17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0" name="Titelplatzhalter 1">
            <a:extLst>
              <a:ext uri="{FF2B5EF4-FFF2-40B4-BE49-F238E27FC236}">
                <a16:creationId xmlns:a16="http://schemas.microsoft.com/office/drawing/2014/main" id="{9DA48AAA-EE45-4101-8B0E-21749731989C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09600" y="275167"/>
            <a:ext cx="109728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/>
              <a:t>Titelmasterformat durch Klicken bearbeiten</a:t>
            </a:r>
          </a:p>
        </p:txBody>
      </p:sp>
      <p:sp>
        <p:nvSpPr>
          <p:cNvPr id="2051" name="Textplatzhalter 2">
            <a:extLst>
              <a:ext uri="{FF2B5EF4-FFF2-40B4-BE49-F238E27FC236}">
                <a16:creationId xmlns:a16="http://schemas.microsoft.com/office/drawing/2014/main" id="{4CD93A10-CC59-482C-9071-D03D4D9E2030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09600" y="1600201"/>
            <a:ext cx="10972800" cy="45254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/>
              <a:t>Textmasterformate durch Klicken bearbeiten</a:t>
            </a:r>
          </a:p>
          <a:p>
            <a:pPr lvl="1"/>
            <a:r>
              <a:rPr lang="de-DE" altLang="de-DE"/>
              <a:t>Zweite Ebene</a:t>
            </a:r>
          </a:p>
          <a:p>
            <a:pPr lvl="2"/>
            <a:r>
              <a:rPr lang="de-DE" altLang="de-DE"/>
              <a:t>Dritte Ebene</a:t>
            </a:r>
          </a:p>
          <a:p>
            <a:pPr lvl="3"/>
            <a:r>
              <a:rPr lang="de-DE" altLang="de-DE"/>
              <a:t>Vierte Ebene</a:t>
            </a:r>
          </a:p>
          <a:p>
            <a:pPr lvl="4"/>
            <a:r>
              <a:rPr lang="de-DE" alt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924D622-6589-4B27-8332-0B830C60C47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618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100">
                <a:solidFill>
                  <a:schemeClr val="tx1"/>
                </a:solidFill>
                <a:latin typeface="Verdana" pitchFamily="34" charset="0"/>
              </a:defRPr>
            </a:lvl1pPr>
          </a:lstStyle>
          <a:p>
            <a:pPr>
              <a:defRPr/>
            </a:pPr>
            <a:fld id="{8A73B61E-1CC2-4550-B21C-FC0DF4366D3B}" type="datetime4">
              <a:rPr lang="de-DE"/>
              <a:pPr>
                <a:defRPr/>
              </a:pPr>
              <a:t>20. Januar 2021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3794755-A265-401A-B018-84F1F51C4FD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618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100">
                <a:solidFill>
                  <a:schemeClr val="tx1"/>
                </a:solidFill>
                <a:latin typeface="Verdana" pitchFamily="34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8381842-3079-41F5-BD6C-F26D0AC4F71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6183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1100">
                <a:latin typeface="Verdana" panose="020B0604030504040204" pitchFamily="34" charset="0"/>
              </a:defRPr>
            </a:lvl1pPr>
          </a:lstStyle>
          <a:p>
            <a:fld id="{7362FF54-E171-423D-AEB8-342EA56AF44B}" type="slidenum">
              <a:rPr lang="de-DE" altLang="de-DE"/>
              <a:pPr/>
              <a:t>‹Nr.›</a:t>
            </a:fld>
            <a:endParaRPr lang="de-DE" alt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49" r:id="rId1"/>
    <p:sldLayoutId id="2147483850" r:id="rId2"/>
  </p:sldLayoutIdLst>
  <p:hf hd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 kern="1200">
          <a:solidFill>
            <a:schemeClr val="tx1"/>
          </a:solidFill>
          <a:latin typeface="Verdana" pitchFamily="34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Verdan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Verdan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Verdan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Verdana" pitchFamily="34" charset="0"/>
        </a:defRPr>
      </a:lvl5pPr>
      <a:lvl6pPr marL="609585" algn="ctr" rtl="0" fontAlgn="base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Calibri" pitchFamily="34" charset="0"/>
        </a:defRPr>
      </a:lvl6pPr>
      <a:lvl7pPr marL="1219170" algn="ctr" rtl="0" fontAlgn="base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Calibri" pitchFamily="34" charset="0"/>
        </a:defRPr>
      </a:lvl7pPr>
      <a:lvl8pPr marL="1828754" algn="ctr" rtl="0" fontAlgn="base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Calibri" pitchFamily="34" charset="0"/>
        </a:defRPr>
      </a:lvl8pPr>
      <a:lvl9pPr marL="2438339" algn="ctr" rtl="0" fontAlgn="base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Calibri" pitchFamily="34" charset="0"/>
        </a:defRPr>
      </a:lvl9pPr>
    </p:titleStyle>
    <p:bodyStyle>
      <a:lvl1pPr marL="457189" indent="-457189" algn="l" rtl="0" eaLnBrk="0" fontAlgn="base" hangingPunct="0">
        <a:spcBef>
          <a:spcPct val="20000"/>
        </a:spcBef>
        <a:spcAft>
          <a:spcPct val="0"/>
        </a:spcAft>
        <a:defRPr sz="3200" kern="1200">
          <a:solidFill>
            <a:schemeClr val="tx1"/>
          </a:solidFill>
          <a:latin typeface="Verdana" pitchFamily="34" charset="0"/>
          <a:ea typeface="+mn-ea"/>
          <a:cs typeface="+mn-cs"/>
        </a:defRPr>
      </a:lvl1pPr>
      <a:lvl2pPr marL="990575" indent="-380990" algn="l" rtl="0" eaLnBrk="0" fontAlgn="base" hangingPunct="0">
        <a:spcBef>
          <a:spcPts val="3200"/>
        </a:spcBef>
        <a:spcAft>
          <a:spcPct val="0"/>
        </a:spcAft>
        <a:defRPr sz="3200" kern="1200">
          <a:solidFill>
            <a:schemeClr val="tx1"/>
          </a:solidFill>
          <a:latin typeface="Verdana" pitchFamily="34" charset="0"/>
          <a:ea typeface="+mn-ea"/>
          <a:cs typeface="+mn-cs"/>
        </a:defRPr>
      </a:lvl2pPr>
      <a:lvl3pPr marL="965176" indent="-474121" algn="l" rtl="0" eaLnBrk="0" fontAlgn="base" hangingPunct="0">
        <a:spcBef>
          <a:spcPct val="20000"/>
        </a:spcBef>
        <a:spcAft>
          <a:spcPct val="0"/>
        </a:spcAft>
        <a:buFont typeface="Verdana" panose="020B0604030504040204" pitchFamily="34" charset="0"/>
        <a:buChar char="&gt;"/>
        <a:defRPr sz="3200" kern="1200">
          <a:solidFill>
            <a:schemeClr val="tx1"/>
          </a:solidFill>
          <a:latin typeface="Verdana" pitchFamily="34" charset="0"/>
          <a:ea typeface="+mn-ea"/>
          <a:cs typeface="+mn-cs"/>
        </a:defRPr>
      </a:lvl3pPr>
      <a:lvl4pPr marL="2133547" indent="-304792" algn="l" rtl="0" eaLnBrk="0" fontAlgn="base" hangingPunct="0">
        <a:spcBef>
          <a:spcPts val="2133"/>
        </a:spcBef>
        <a:spcAft>
          <a:spcPct val="0"/>
        </a:spcAft>
        <a:buFont typeface="Arial" panose="020B0604020202020204" pitchFamily="34" charset="0"/>
        <a:defRPr sz="2100" kern="1200">
          <a:solidFill>
            <a:schemeClr val="tx1"/>
          </a:solidFill>
          <a:latin typeface="Verdana" pitchFamily="34" charset="0"/>
          <a:ea typeface="+mn-ea"/>
          <a:cs typeface="+mn-cs"/>
        </a:defRPr>
      </a:lvl4pPr>
      <a:lvl5pPr marL="965176" indent="-491054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&gt;"/>
        <a:defRPr sz="2100" kern="1200">
          <a:solidFill>
            <a:schemeClr val="tx1"/>
          </a:solidFill>
          <a:latin typeface="Verdana" pitchFamily="34" charset="0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6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1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9.xml"/><Relationship Id="rId7" Type="http://schemas.openxmlformats.org/officeDocument/2006/relationships/image" Target="../media/image10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9.xml"/><Relationship Id="rId7" Type="http://schemas.openxmlformats.org/officeDocument/2006/relationships/image" Target="../media/image11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9.xml"/><Relationship Id="rId7" Type="http://schemas.openxmlformats.org/officeDocument/2006/relationships/image" Target="../media/image12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9.xml"/><Relationship Id="rId7" Type="http://schemas.openxmlformats.org/officeDocument/2006/relationships/image" Target="../media/image13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8.bin"/><Relationship Id="rId4" Type="http://schemas.openxmlformats.org/officeDocument/2006/relationships/notesSlide" Target="../notesSlides/notesSlide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9.xml"/><Relationship Id="rId7" Type="http://schemas.openxmlformats.org/officeDocument/2006/relationships/image" Target="../media/image14.PNG"/><Relationship Id="rId2" Type="http://schemas.openxmlformats.org/officeDocument/2006/relationships/tags" Target="../tags/tag21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9.bin"/><Relationship Id="rId4" Type="http://schemas.openxmlformats.org/officeDocument/2006/relationships/notesSlide" Target="../notesSlides/notesSlide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7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0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9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0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2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0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3.bin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2" Type="http://schemas.openxmlformats.org/officeDocument/2006/relationships/image" Target="../media/image15.jpg"/><Relationship Id="rId1" Type="http://schemas.openxmlformats.org/officeDocument/2006/relationships/slideLayout" Target="../slideLayouts/slideLayout33.xml"/><Relationship Id="rId4" Type="http://schemas.openxmlformats.org/officeDocument/2006/relationships/image" Target="../media/image17.jp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image" Target="../media/image18.jpg"/><Relationship Id="rId1" Type="http://schemas.openxmlformats.org/officeDocument/2006/relationships/slideLayout" Target="../slideLayouts/slideLayout3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g"/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3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g"/><Relationship Id="rId1" Type="http://schemas.openxmlformats.org/officeDocument/2006/relationships/slideLayout" Target="../slideLayouts/slideLayout33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3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4.bin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6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5.vml"/><Relationship Id="rId6" Type="http://schemas.openxmlformats.org/officeDocument/2006/relationships/chart" Target="../charts/char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5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6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7.vml"/><Relationship Id="rId6" Type="http://schemas.openxmlformats.org/officeDocument/2006/relationships/chart" Target="../charts/chart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6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6.xml"/><Relationship Id="rId2" Type="http://schemas.openxmlformats.org/officeDocument/2006/relationships/tags" Target="../tags/tag31.xml"/><Relationship Id="rId1" Type="http://schemas.openxmlformats.org/officeDocument/2006/relationships/vmlDrawing" Target="../drawings/vmlDrawing29.vml"/><Relationship Id="rId6" Type="http://schemas.openxmlformats.org/officeDocument/2006/relationships/chart" Target="../charts/chart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2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9.xml"/><Relationship Id="rId7" Type="http://schemas.openxmlformats.org/officeDocument/2006/relationships/image" Target="../media/image8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9.xml"/><Relationship Id="rId7" Type="http://schemas.openxmlformats.org/officeDocument/2006/relationships/image" Target="../media/image9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C96D016-D03B-46B4-BE92-5EA89F86176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4983681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9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C96D016-D03B-46B4-BE92-5EA89F8617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89F4598B-0889-4DEA-BF57-37661FB72A7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60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CD7C792-39B7-4A50-A642-C5D92144CD6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>
                <a:latin typeface="Verdana"/>
                <a:ea typeface="Verdana"/>
              </a:rPr>
              <a:t>Abschlusspräsentatio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DF65BE4D-DB00-4D52-9406-F37DCA5A8CE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 vert="horz" lIns="121920" tIns="60960" rIns="121920" bIns="60960" rtlCol="0" anchor="t">
            <a:normAutofit/>
          </a:bodyPr>
          <a:lstStyle/>
          <a:p>
            <a:r>
              <a:rPr lang="de-DE" dirty="0">
                <a:latin typeface="Verdana"/>
                <a:ea typeface="Verdana"/>
              </a:rPr>
              <a:t>Abschlusspräsentation zum 20.01.2021</a:t>
            </a:r>
          </a:p>
          <a:p>
            <a:r>
              <a:rPr lang="de-DE" dirty="0">
                <a:latin typeface="Verdana"/>
                <a:ea typeface="Verdana"/>
              </a:rPr>
              <a:t>Gruppe A2 - Team </a:t>
            </a:r>
            <a:r>
              <a:rPr lang="de-DE" dirty="0" err="1">
                <a:latin typeface="Verdana"/>
                <a:ea typeface="Verdana"/>
              </a:rPr>
              <a:t>EasyCrash</a:t>
            </a:r>
            <a:endParaRPr lang="de-DE" dirty="0">
              <a:latin typeface="Verdana"/>
              <a:ea typeface="Verdana"/>
            </a:endParaRPr>
          </a:p>
        </p:txBody>
      </p:sp>
      <p:pic>
        <p:nvPicPr>
          <p:cNvPr id="6" name="Grafik 6" descr="Ein Bild, das Text enthält.&#10;&#10;Beschreibung automatisch generiert.">
            <a:extLst>
              <a:ext uri="{FF2B5EF4-FFF2-40B4-BE49-F238E27FC236}">
                <a16:creationId xmlns:a16="http://schemas.microsoft.com/office/drawing/2014/main" id="{5CFDB333-3215-4C9C-9B54-A04C68B4D0F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5400000">
            <a:off x="11088478" y="1047368"/>
            <a:ext cx="1720468" cy="4942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888807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F954CEF-464E-4236-8F72-D8FBAD31AE8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66" name="think-cell Folie" r:id="rId5" imgW="351" imgH="351" progId="TCLayout.ActiveDocument.1">
                  <p:embed/>
                </p:oleObj>
              </mc:Choice>
              <mc:Fallback>
                <p:oleObj name="think-cell Folie" r:id="rId5" imgW="351" imgH="351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4F954CEF-464E-4236-8F72-D8FBAD31AE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218" name="Titel 6">
            <a:extLst>
              <a:ext uri="{FF2B5EF4-FFF2-40B4-BE49-F238E27FC236}">
                <a16:creationId xmlns:a16="http://schemas.microsoft.com/office/drawing/2014/main" id="{F1BC5A96-10D9-4C14-8465-8DAAEF9E1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117" y="287867"/>
            <a:ext cx="10752667" cy="933451"/>
          </a:xfrm>
        </p:spPr>
        <p:txBody>
          <a:bodyPr vert="horz"/>
          <a:lstStyle/>
          <a:p>
            <a:r>
              <a:rPr lang="de-DE" altLang="de-DE" dirty="0"/>
              <a:t>Kurzer Überblick über das App</a:t>
            </a:r>
            <a:br>
              <a:rPr lang="de-DE" altLang="de-DE" dirty="0"/>
            </a:br>
            <a:endParaRPr lang="de-DE" altLang="de-DE" dirty="0"/>
          </a:p>
        </p:txBody>
      </p:sp>
      <p:sp>
        <p:nvSpPr>
          <p:cNvPr id="9219" name="Inhaltsplatzhalter 7">
            <a:extLst>
              <a:ext uri="{FF2B5EF4-FFF2-40B4-BE49-F238E27FC236}">
                <a16:creationId xmlns:a16="http://schemas.microsoft.com/office/drawing/2014/main" id="{57603890-A08E-45C8-8086-344BF2610CE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3118" y="1509184"/>
            <a:ext cx="5520861" cy="4826000"/>
          </a:xfrm>
        </p:spPr>
        <p:txBody>
          <a:bodyPr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de-DE" altLang="de-DE" dirty="0"/>
              <a:t>Strecke</a:t>
            </a:r>
          </a:p>
          <a:p>
            <a:pPr marL="1422364" lvl="2" indent="-457189">
              <a:spcBef>
                <a:spcPct val="0"/>
              </a:spcBef>
            </a:pPr>
            <a:r>
              <a:rPr lang="de-DE" altLang="de-DE" dirty="0"/>
              <a:t>Alle gefahrene Strecke auflisten</a:t>
            </a:r>
          </a:p>
          <a:p>
            <a:pPr lvl="2" indent="0">
              <a:spcBef>
                <a:spcPct val="0"/>
              </a:spcBef>
              <a:buNone/>
            </a:pPr>
            <a:endParaRPr lang="de-DE" altLang="de-DE" dirty="0"/>
          </a:p>
          <a:p>
            <a:pPr marL="1422364" lvl="2" indent="-457189">
              <a:spcBef>
                <a:spcPct val="0"/>
              </a:spcBef>
            </a:pPr>
            <a:endParaRPr lang="de-DE" altLang="de-DE" dirty="0"/>
          </a:p>
          <a:p>
            <a:pPr marL="1422364" lvl="2" indent="-457189">
              <a:spcBef>
                <a:spcPct val="0"/>
              </a:spcBef>
            </a:pPr>
            <a:endParaRPr lang="de-DE" altLang="de-DE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9CAA4819-5371-462C-8376-98DF63901FE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4192" y="1509184"/>
            <a:ext cx="2756947" cy="482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383194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F954CEF-464E-4236-8F72-D8FBAD31AE8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18" name="think-cell Folie" r:id="rId5" imgW="351" imgH="351" progId="TCLayout.ActiveDocument.1">
                  <p:embed/>
                </p:oleObj>
              </mc:Choice>
              <mc:Fallback>
                <p:oleObj name="think-cell Folie" r:id="rId5" imgW="351" imgH="351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4F954CEF-464E-4236-8F72-D8FBAD31AE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218" name="Titel 6">
            <a:extLst>
              <a:ext uri="{FF2B5EF4-FFF2-40B4-BE49-F238E27FC236}">
                <a16:creationId xmlns:a16="http://schemas.microsoft.com/office/drawing/2014/main" id="{F1BC5A96-10D9-4C14-8465-8DAAEF9E1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117" y="287867"/>
            <a:ext cx="10752667" cy="933451"/>
          </a:xfrm>
        </p:spPr>
        <p:txBody>
          <a:bodyPr vert="horz"/>
          <a:lstStyle/>
          <a:p>
            <a:r>
              <a:rPr lang="de-DE" altLang="de-DE" dirty="0"/>
              <a:t>Kurzer Überblick über das App</a:t>
            </a:r>
            <a:br>
              <a:rPr lang="de-DE" altLang="de-DE" dirty="0"/>
            </a:br>
            <a:endParaRPr lang="de-DE" altLang="de-DE" dirty="0"/>
          </a:p>
        </p:txBody>
      </p:sp>
      <p:sp>
        <p:nvSpPr>
          <p:cNvPr id="9219" name="Inhaltsplatzhalter 7">
            <a:extLst>
              <a:ext uri="{FF2B5EF4-FFF2-40B4-BE49-F238E27FC236}">
                <a16:creationId xmlns:a16="http://schemas.microsoft.com/office/drawing/2014/main" id="{57603890-A08E-45C8-8086-344BF2610CE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3118" y="1509184"/>
            <a:ext cx="5520861" cy="4826000"/>
          </a:xfrm>
        </p:spPr>
        <p:txBody>
          <a:bodyPr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de-DE" altLang="de-DE" dirty="0"/>
              <a:t>Tankvorgänge</a:t>
            </a:r>
          </a:p>
          <a:p>
            <a:pPr marL="1422364" lvl="2" indent="-457189">
              <a:spcBef>
                <a:spcPct val="0"/>
              </a:spcBef>
            </a:pPr>
            <a:r>
              <a:rPr lang="de-DE" altLang="de-DE" dirty="0"/>
              <a:t>Alle Tankvorgänge auflisten</a:t>
            </a:r>
          </a:p>
          <a:p>
            <a:pPr lvl="2" indent="0">
              <a:spcBef>
                <a:spcPct val="0"/>
              </a:spcBef>
              <a:buNone/>
            </a:pPr>
            <a:endParaRPr lang="de-DE" altLang="de-DE" dirty="0"/>
          </a:p>
          <a:p>
            <a:pPr marL="1422364" lvl="2" indent="-457189">
              <a:spcBef>
                <a:spcPct val="0"/>
              </a:spcBef>
            </a:pPr>
            <a:endParaRPr lang="de-DE" altLang="de-DE" dirty="0"/>
          </a:p>
          <a:p>
            <a:pPr marL="1422364" lvl="2" indent="-457189">
              <a:spcBef>
                <a:spcPct val="0"/>
              </a:spcBef>
            </a:pPr>
            <a:endParaRPr lang="de-DE" altLang="de-DE" dirty="0"/>
          </a:p>
        </p:txBody>
      </p:sp>
      <p:pic>
        <p:nvPicPr>
          <p:cNvPr id="4" name="Grafik 3" descr="Ein Bild, das Text, Elektronik, Screenshot enthält.&#10;&#10;Automatisch generierte Beschreibung">
            <a:extLst>
              <a:ext uri="{FF2B5EF4-FFF2-40B4-BE49-F238E27FC236}">
                <a16:creationId xmlns:a16="http://schemas.microsoft.com/office/drawing/2014/main" id="{655AF091-BAAF-4933-969D-2FB8F6BD521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8181" y="1426386"/>
            <a:ext cx="2939131" cy="49915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754289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F954CEF-464E-4236-8F72-D8FBAD31AE8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70" name="think-cell Folie" r:id="rId5" imgW="351" imgH="351" progId="TCLayout.ActiveDocument.1">
                  <p:embed/>
                </p:oleObj>
              </mc:Choice>
              <mc:Fallback>
                <p:oleObj name="think-cell Folie" r:id="rId5" imgW="351" imgH="351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4F954CEF-464E-4236-8F72-D8FBAD31AE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218" name="Titel 6">
            <a:extLst>
              <a:ext uri="{FF2B5EF4-FFF2-40B4-BE49-F238E27FC236}">
                <a16:creationId xmlns:a16="http://schemas.microsoft.com/office/drawing/2014/main" id="{F1BC5A96-10D9-4C14-8465-8DAAEF9E1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117" y="287867"/>
            <a:ext cx="10752667" cy="933451"/>
          </a:xfrm>
        </p:spPr>
        <p:txBody>
          <a:bodyPr vert="horz"/>
          <a:lstStyle/>
          <a:p>
            <a:r>
              <a:rPr lang="de-DE" altLang="de-DE" dirty="0"/>
              <a:t>Kurzer Überblick über das App</a:t>
            </a:r>
            <a:br>
              <a:rPr lang="de-DE" altLang="de-DE" dirty="0"/>
            </a:br>
            <a:endParaRPr lang="de-DE" altLang="de-DE" dirty="0"/>
          </a:p>
        </p:txBody>
      </p:sp>
      <p:sp>
        <p:nvSpPr>
          <p:cNvPr id="9219" name="Inhaltsplatzhalter 7">
            <a:extLst>
              <a:ext uri="{FF2B5EF4-FFF2-40B4-BE49-F238E27FC236}">
                <a16:creationId xmlns:a16="http://schemas.microsoft.com/office/drawing/2014/main" id="{57603890-A08E-45C8-8086-344BF2610CE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3118" y="1509184"/>
            <a:ext cx="5520861" cy="4826000"/>
          </a:xfrm>
        </p:spPr>
        <p:txBody>
          <a:bodyPr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de-DE" altLang="de-DE" dirty="0"/>
              <a:t>Statistik</a:t>
            </a:r>
          </a:p>
          <a:p>
            <a:pPr marL="1422364" lvl="2" indent="-457189">
              <a:spcBef>
                <a:spcPct val="0"/>
              </a:spcBef>
            </a:pPr>
            <a:r>
              <a:rPr lang="de-DE" altLang="de-DE" dirty="0"/>
              <a:t>Statistik von allen Informationen von dem Auto anzeigen </a:t>
            </a:r>
          </a:p>
          <a:p>
            <a:pPr lvl="2" indent="0">
              <a:spcBef>
                <a:spcPct val="0"/>
              </a:spcBef>
              <a:buNone/>
            </a:pPr>
            <a:endParaRPr lang="de-DE" altLang="de-DE" dirty="0"/>
          </a:p>
          <a:p>
            <a:pPr marL="1422364" lvl="2" indent="-457189">
              <a:spcBef>
                <a:spcPct val="0"/>
              </a:spcBef>
            </a:pPr>
            <a:endParaRPr lang="de-DE" altLang="de-DE" dirty="0"/>
          </a:p>
          <a:p>
            <a:pPr marL="1422364" lvl="2" indent="-457189">
              <a:spcBef>
                <a:spcPct val="0"/>
              </a:spcBef>
            </a:pPr>
            <a:endParaRPr lang="de-DE" alt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00173BC6-B8E1-4EDB-B917-98D2D8C5C20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6160" y="1389168"/>
            <a:ext cx="3168352" cy="50660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117040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F954CEF-464E-4236-8F72-D8FBAD31AE8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22" name="think-cell Folie" r:id="rId5" imgW="351" imgH="351" progId="TCLayout.ActiveDocument.1">
                  <p:embed/>
                </p:oleObj>
              </mc:Choice>
              <mc:Fallback>
                <p:oleObj name="think-cell Folie" r:id="rId5" imgW="351" imgH="351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4F954CEF-464E-4236-8F72-D8FBAD31AE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218" name="Titel 6">
            <a:extLst>
              <a:ext uri="{FF2B5EF4-FFF2-40B4-BE49-F238E27FC236}">
                <a16:creationId xmlns:a16="http://schemas.microsoft.com/office/drawing/2014/main" id="{F1BC5A96-10D9-4C14-8465-8DAAEF9E1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117" y="287867"/>
            <a:ext cx="10752667" cy="933451"/>
          </a:xfrm>
        </p:spPr>
        <p:txBody>
          <a:bodyPr vert="horz"/>
          <a:lstStyle/>
          <a:p>
            <a:r>
              <a:rPr lang="de-DE" altLang="de-DE" dirty="0"/>
              <a:t>Kurzer Überblick über das App</a:t>
            </a:r>
            <a:br>
              <a:rPr lang="de-DE" altLang="de-DE" dirty="0"/>
            </a:br>
            <a:endParaRPr lang="de-DE" altLang="de-DE" dirty="0"/>
          </a:p>
        </p:txBody>
      </p:sp>
      <p:sp>
        <p:nvSpPr>
          <p:cNvPr id="9219" name="Inhaltsplatzhalter 7">
            <a:extLst>
              <a:ext uri="{FF2B5EF4-FFF2-40B4-BE49-F238E27FC236}">
                <a16:creationId xmlns:a16="http://schemas.microsoft.com/office/drawing/2014/main" id="{57603890-A08E-45C8-8086-344BF2610CE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3118" y="1509184"/>
            <a:ext cx="5520861" cy="4826000"/>
          </a:xfrm>
        </p:spPr>
        <p:txBody>
          <a:bodyPr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de-DE" altLang="de-DE" dirty="0"/>
              <a:t>Streckenprognose</a:t>
            </a:r>
          </a:p>
          <a:p>
            <a:pPr marL="1422364" lvl="2" indent="-457189">
              <a:spcBef>
                <a:spcPct val="0"/>
              </a:spcBef>
            </a:pPr>
            <a:r>
              <a:rPr lang="de-DE" altLang="de-DE" dirty="0"/>
              <a:t>Ermöglicht den Benutzer eine Berechnung durchzuführen</a:t>
            </a:r>
          </a:p>
          <a:p>
            <a:pPr lvl="2" indent="0">
              <a:spcBef>
                <a:spcPct val="0"/>
              </a:spcBef>
              <a:buNone/>
            </a:pPr>
            <a:endParaRPr lang="de-DE" altLang="de-DE" dirty="0"/>
          </a:p>
          <a:p>
            <a:pPr marL="1422364" lvl="2" indent="-457189">
              <a:spcBef>
                <a:spcPct val="0"/>
              </a:spcBef>
            </a:pPr>
            <a:endParaRPr lang="de-DE" altLang="de-DE" dirty="0"/>
          </a:p>
          <a:p>
            <a:pPr marL="1422364" lvl="2" indent="-457189">
              <a:spcBef>
                <a:spcPct val="0"/>
              </a:spcBef>
            </a:pPr>
            <a:endParaRPr lang="de-DE" altLang="de-DE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D6D866C4-DEC5-46BB-86F6-CCFAA282A54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4192" y="1426287"/>
            <a:ext cx="2794320" cy="4991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028346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F954CEF-464E-4236-8F72-D8FBAD31AE8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74" name="think-cell Folie" r:id="rId5" imgW="351" imgH="351" progId="TCLayout.ActiveDocument.1">
                  <p:embed/>
                </p:oleObj>
              </mc:Choice>
              <mc:Fallback>
                <p:oleObj name="think-cell Folie" r:id="rId5" imgW="351" imgH="351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4F954CEF-464E-4236-8F72-D8FBAD31AE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218" name="Titel 6">
            <a:extLst>
              <a:ext uri="{FF2B5EF4-FFF2-40B4-BE49-F238E27FC236}">
                <a16:creationId xmlns:a16="http://schemas.microsoft.com/office/drawing/2014/main" id="{F1BC5A96-10D9-4C14-8465-8DAAEF9E1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117" y="287867"/>
            <a:ext cx="10752667" cy="933451"/>
          </a:xfrm>
        </p:spPr>
        <p:txBody>
          <a:bodyPr vert="horz"/>
          <a:lstStyle/>
          <a:p>
            <a:r>
              <a:rPr lang="de-DE" altLang="de-DE" dirty="0"/>
              <a:t>Kurzer Überblick über das App</a:t>
            </a:r>
            <a:br>
              <a:rPr lang="de-DE" altLang="de-DE" dirty="0"/>
            </a:br>
            <a:endParaRPr lang="de-DE" altLang="de-DE" dirty="0"/>
          </a:p>
        </p:txBody>
      </p:sp>
      <p:sp>
        <p:nvSpPr>
          <p:cNvPr id="9219" name="Inhaltsplatzhalter 7">
            <a:extLst>
              <a:ext uri="{FF2B5EF4-FFF2-40B4-BE49-F238E27FC236}">
                <a16:creationId xmlns:a16="http://schemas.microsoft.com/office/drawing/2014/main" id="{57603890-A08E-45C8-8086-344BF2610CE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3118" y="1509184"/>
            <a:ext cx="5520861" cy="4826000"/>
          </a:xfrm>
        </p:spPr>
        <p:txBody>
          <a:bodyPr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de-DE" altLang="de-DE" dirty="0"/>
              <a:t>Werkstattbesuch</a:t>
            </a:r>
          </a:p>
          <a:p>
            <a:pPr marL="1422364" lvl="2" indent="-457189">
              <a:spcBef>
                <a:spcPct val="0"/>
              </a:spcBef>
            </a:pPr>
            <a:r>
              <a:rPr lang="de-DE" altLang="de-DE" dirty="0"/>
              <a:t>Alle Werkstattbesuche anzeigen</a:t>
            </a:r>
          </a:p>
          <a:p>
            <a:pPr lvl="2" indent="0">
              <a:spcBef>
                <a:spcPct val="0"/>
              </a:spcBef>
              <a:buNone/>
            </a:pPr>
            <a:endParaRPr lang="de-DE" altLang="de-DE" dirty="0"/>
          </a:p>
          <a:p>
            <a:pPr marL="1422364" lvl="2" indent="-457189">
              <a:spcBef>
                <a:spcPct val="0"/>
              </a:spcBef>
            </a:pPr>
            <a:endParaRPr lang="de-DE" altLang="de-DE" dirty="0"/>
          </a:p>
          <a:p>
            <a:pPr marL="1422364" lvl="2" indent="-457189">
              <a:spcBef>
                <a:spcPct val="0"/>
              </a:spcBef>
            </a:pPr>
            <a:endParaRPr lang="de-DE" altLang="de-DE" dirty="0"/>
          </a:p>
        </p:txBody>
      </p:sp>
      <p:pic>
        <p:nvPicPr>
          <p:cNvPr id="5" name="Grafik 4" descr="Ein Bild, das Text, Screenshot, Elektronik enthält.&#10;&#10;Automatisch generierte Beschreibung">
            <a:extLst>
              <a:ext uri="{FF2B5EF4-FFF2-40B4-BE49-F238E27FC236}">
                <a16:creationId xmlns:a16="http://schemas.microsoft.com/office/drawing/2014/main" id="{1F29C849-C2EB-4F76-B911-E4524246B56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4192" y="1391594"/>
            <a:ext cx="2904048" cy="50611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041337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607A73AE-B3F7-4ACA-B2EA-F286BB1A2E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0659896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50" name="think-cell Folie" r:id="rId4" imgW="351" imgH="351" progId="TCLayout.ActiveDocument.1">
                  <p:embed/>
                </p:oleObj>
              </mc:Choice>
              <mc:Fallback>
                <p:oleObj name="think-cell Folie" r:id="rId4" imgW="351" imgH="351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607A73AE-B3F7-4ACA-B2EA-F286BB1A2E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43" name="Inhaltsplatzhalter 5">
            <a:extLst>
              <a:ext uri="{FF2B5EF4-FFF2-40B4-BE49-F238E27FC236}">
                <a16:creationId xmlns:a16="http://schemas.microsoft.com/office/drawing/2014/main" id="{DE039577-90EC-47DC-B7B0-ACBC6F0DD9D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3117" y="2000251"/>
            <a:ext cx="10752667" cy="4334933"/>
          </a:xfrm>
        </p:spPr>
        <p:txBody>
          <a:bodyPr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de-DE" altLang="de-DE" dirty="0"/>
              <a:t>Zweck </a:t>
            </a:r>
            <a:r>
              <a:rPr lang="de-DE" altLang="de-DE" dirty="0">
                <a:solidFill>
                  <a:srgbClr val="00B1AC"/>
                </a:solidFill>
              </a:rPr>
              <a:t>der Anwendung</a:t>
            </a:r>
            <a:endParaRPr lang="de-DE" altLang="de-DE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63CEDE26-18ED-4C57-A196-28A1FBB6A7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8805075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BD32F87-0768-49F8-A85B-17BD0CC0C0C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673893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02" name="think-cell Folie" r:id="rId5" imgW="351" imgH="351" progId="TCLayout.ActiveDocument.1">
                  <p:embed/>
                </p:oleObj>
              </mc:Choice>
              <mc:Fallback>
                <p:oleObj name="think-cell Folie" r:id="rId5" imgW="351" imgH="351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4BD32F87-0768-49F8-A85B-17BD0CC0C0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218" name="Titel 6">
            <a:extLst>
              <a:ext uri="{FF2B5EF4-FFF2-40B4-BE49-F238E27FC236}">
                <a16:creationId xmlns:a16="http://schemas.microsoft.com/office/drawing/2014/main" id="{F1BC5A96-10D9-4C14-8465-8DAAEF9E1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117" y="287867"/>
            <a:ext cx="10752667" cy="933451"/>
          </a:xfrm>
        </p:spPr>
        <p:txBody>
          <a:bodyPr vert="horz"/>
          <a:lstStyle/>
          <a:p>
            <a:r>
              <a:rPr lang="de-DE" altLang="de-DE" dirty="0"/>
              <a:t>Zielgruppen</a:t>
            </a:r>
          </a:p>
        </p:txBody>
      </p:sp>
      <p:sp>
        <p:nvSpPr>
          <p:cNvPr id="9219" name="Inhaltsplatzhalter 7">
            <a:extLst>
              <a:ext uri="{FF2B5EF4-FFF2-40B4-BE49-F238E27FC236}">
                <a16:creationId xmlns:a16="http://schemas.microsoft.com/office/drawing/2014/main" id="{57603890-A08E-45C8-8086-344BF2610CE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3117" y="1509184"/>
            <a:ext cx="10752667" cy="4826000"/>
          </a:xfrm>
        </p:spPr>
        <p:txBody>
          <a:bodyPr/>
          <a:lstStyle/>
          <a:p>
            <a:pPr lvl="1"/>
            <a:r>
              <a:rPr lang="de-DE" altLang="de-DE" dirty="0"/>
              <a:t>Gruppe, die wir zielen</a:t>
            </a:r>
          </a:p>
          <a:p>
            <a:pPr lvl="2"/>
            <a:r>
              <a:rPr lang="de-DE" altLang="de-DE" dirty="0"/>
              <a:t>Studenten</a:t>
            </a:r>
          </a:p>
          <a:p>
            <a:pPr lvl="2"/>
            <a:r>
              <a:rPr lang="de-DE" altLang="de-DE" dirty="0"/>
              <a:t>Berufliche Leute</a:t>
            </a:r>
          </a:p>
          <a:p>
            <a:pPr lvl="2"/>
            <a:r>
              <a:rPr lang="de-DE" altLang="de-DE" dirty="0"/>
              <a:t>Umweltbewusste Personen</a:t>
            </a:r>
          </a:p>
        </p:txBody>
      </p:sp>
    </p:spTree>
    <p:extLst>
      <p:ext uri="{BB962C8B-B14F-4D97-AF65-F5344CB8AC3E}">
        <p14:creationId xmlns:p14="http://schemas.microsoft.com/office/powerpoint/2010/main" val="298623506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3C66D56A-4B59-4449-81B4-CB87811EDE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24850114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78" name="think-cell Folie" r:id="rId4" imgW="351" imgH="351" progId="TCLayout.ActiveDocument.1">
                  <p:embed/>
                </p:oleObj>
              </mc:Choice>
              <mc:Fallback>
                <p:oleObj name="think-cell Folie" r:id="rId4" imgW="351" imgH="351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3C66D56A-4B59-4449-81B4-CB87811EDE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266" name="Inhaltsplatzhalter 1">
            <a:extLst>
              <a:ext uri="{FF2B5EF4-FFF2-40B4-BE49-F238E27FC236}">
                <a16:creationId xmlns:a16="http://schemas.microsoft.com/office/drawing/2014/main" id="{F2B1FD6D-3DBB-4D94-8122-36CCE3BF136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83118" y="1509184"/>
            <a:ext cx="5185833" cy="4826000"/>
          </a:xfrm>
        </p:spPr>
        <p:txBody>
          <a:bodyPr/>
          <a:lstStyle/>
          <a:p>
            <a:pPr marL="0" lvl="1" indent="0"/>
            <a:r>
              <a:rPr altLang="de-DE" dirty="0"/>
              <a:t>Studenten</a:t>
            </a:r>
          </a:p>
          <a:p>
            <a:pPr lvl="2"/>
            <a:r>
              <a:rPr lang="de-DE" altLang="de-DE" dirty="0"/>
              <a:t>Einfaches Kostentracking</a:t>
            </a:r>
          </a:p>
          <a:p>
            <a:pPr lvl="2"/>
            <a:r>
              <a:rPr lang="de-DE" altLang="de-DE" dirty="0"/>
              <a:t>Mobiles verwalten</a:t>
            </a:r>
          </a:p>
          <a:p>
            <a:pPr marL="0" indent="0"/>
            <a:endParaRPr lang="de-DE" altLang="de-DE" dirty="0"/>
          </a:p>
        </p:txBody>
      </p:sp>
      <p:sp>
        <p:nvSpPr>
          <p:cNvPr id="11267" name="Titel 2">
            <a:extLst>
              <a:ext uri="{FF2B5EF4-FFF2-40B4-BE49-F238E27FC236}">
                <a16:creationId xmlns:a16="http://schemas.microsoft.com/office/drawing/2014/main" id="{BE2E1E4E-AD34-46D2-BCF1-22C0463628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117" y="287867"/>
            <a:ext cx="10752667" cy="933451"/>
          </a:xfrm>
        </p:spPr>
        <p:txBody>
          <a:bodyPr vert="horz"/>
          <a:lstStyle/>
          <a:p>
            <a:r>
              <a:rPr lang="de-DE" altLang="de-DE" dirty="0"/>
              <a:t>Zielgruppen</a:t>
            </a:r>
          </a:p>
        </p:txBody>
      </p:sp>
      <p:sp>
        <p:nvSpPr>
          <p:cNvPr id="11268" name="Inhaltsplatzhalter 3">
            <a:extLst>
              <a:ext uri="{FF2B5EF4-FFF2-40B4-BE49-F238E27FC236}">
                <a16:creationId xmlns:a16="http://schemas.microsoft.com/office/drawing/2014/main" id="{94EA6F39-C0E2-42C0-9715-F40F2458C17C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5952067" y="1509184"/>
            <a:ext cx="5183717" cy="4826000"/>
          </a:xfrm>
        </p:spPr>
        <p:txBody>
          <a:bodyPr/>
          <a:lstStyle/>
          <a:p>
            <a:pPr marL="0" lvl="1" indent="0"/>
            <a:r>
              <a:rPr altLang="de-DE" dirty="0"/>
              <a:t>Berufliche Leute</a:t>
            </a:r>
          </a:p>
          <a:p>
            <a:pPr lvl="2"/>
            <a:r>
              <a:rPr lang="de-DE" altLang="de-DE" dirty="0"/>
              <a:t>Können gewöhnlich zwischen private und geschäftliche Fahrt unterscheiden</a:t>
            </a:r>
          </a:p>
          <a:p>
            <a:pPr marL="0" indent="0"/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76238823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3C66D56A-4B59-4449-81B4-CB87811EDE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2" name="think-cell Folie" r:id="rId4" imgW="351" imgH="351" progId="TCLayout.ActiveDocument.1">
                  <p:embed/>
                </p:oleObj>
              </mc:Choice>
              <mc:Fallback>
                <p:oleObj name="think-cell Folie" r:id="rId4" imgW="351" imgH="351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3C66D56A-4B59-4449-81B4-CB87811EDE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266" name="Inhaltsplatzhalter 1">
            <a:extLst>
              <a:ext uri="{FF2B5EF4-FFF2-40B4-BE49-F238E27FC236}">
                <a16:creationId xmlns:a16="http://schemas.microsoft.com/office/drawing/2014/main" id="{F2B1FD6D-3DBB-4D94-8122-36CCE3BF136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83118" y="1509184"/>
            <a:ext cx="5185833" cy="4826000"/>
          </a:xfrm>
        </p:spPr>
        <p:txBody>
          <a:bodyPr/>
          <a:lstStyle/>
          <a:p>
            <a:pPr marL="0" lvl="1" indent="0"/>
            <a:r>
              <a:rPr altLang="de-DE" dirty="0"/>
              <a:t>Umweltbewusste Personen</a:t>
            </a:r>
          </a:p>
          <a:p>
            <a:pPr lvl="2"/>
            <a:r>
              <a:rPr lang="de-DE" altLang="de-DE" dirty="0"/>
              <a:t>CO2 Ausstoß täglich kontrollieren</a:t>
            </a:r>
          </a:p>
          <a:p>
            <a:pPr marL="0" indent="0"/>
            <a:endParaRPr lang="de-DE" altLang="de-DE" dirty="0"/>
          </a:p>
        </p:txBody>
      </p:sp>
      <p:sp>
        <p:nvSpPr>
          <p:cNvPr id="11267" name="Titel 2">
            <a:extLst>
              <a:ext uri="{FF2B5EF4-FFF2-40B4-BE49-F238E27FC236}">
                <a16:creationId xmlns:a16="http://schemas.microsoft.com/office/drawing/2014/main" id="{BE2E1E4E-AD34-46D2-BCF1-22C0463628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117" y="287867"/>
            <a:ext cx="10752667" cy="933451"/>
          </a:xfrm>
        </p:spPr>
        <p:txBody>
          <a:bodyPr vert="horz"/>
          <a:lstStyle/>
          <a:p>
            <a:r>
              <a:rPr lang="de-DE" altLang="de-DE" dirty="0"/>
              <a:t>Zielgruppen</a:t>
            </a:r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B354A63E-693A-4A78-9B78-AB7E02E44C00}"/>
              </a:ext>
            </a:extLst>
          </p:cNvPr>
          <p:cNvSpPr>
            <a:spLocks noGrp="1"/>
          </p:cNvSpPr>
          <p:nvPr>
            <p:ph sz="half" idx="10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70214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6AB016DF-9F20-4B50-BCAA-D0114A337D6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4000" y="2016000"/>
            <a:ext cx="10752000" cy="2520000"/>
          </a:xfrm>
        </p:spPr>
        <p:txBody>
          <a:bodyPr wrap="square" anchor="t">
            <a:normAutofit/>
          </a:bodyPr>
          <a:lstStyle/>
          <a:p>
            <a:r>
              <a:rPr lang="en-US" b="1"/>
              <a:t>Highlight </a:t>
            </a:r>
            <a:r>
              <a:rPr lang="de-DE" b="1"/>
              <a:t>Präsentation</a:t>
            </a:r>
            <a:r>
              <a:rPr lang="en-US" b="1"/>
              <a:t> – YourCar</a:t>
            </a:r>
            <a:br>
              <a:rPr lang="en-US"/>
            </a:br>
            <a:r>
              <a:rPr lang="en-US"/>
              <a:t>Gruppe </a:t>
            </a:r>
            <a:r>
              <a:rPr lang="en-US" err="1"/>
              <a:t>EasyCrash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311123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4D65D9E3-E86B-406C-AAA8-6B10FF7C03E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9494267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7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4D65D9E3-E86B-406C-AAA8-6B10FF7C03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B4A7FCE-3DBB-4990-8931-62218A0CFF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b="1" dirty="0">
                <a:cs typeface="Calibri Light"/>
              </a:rPr>
              <a:t>Nachgetragene Zeiten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5F270FE-E98A-4FB4-922C-2936E0C6B68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189" indent="-457189">
              <a:buFont typeface="Arial" panose="020B0604020202020204" pitchFamily="34" charset="0"/>
              <a:buChar char="•"/>
            </a:pPr>
            <a:r>
              <a:rPr lang="de-DE" sz="2900" dirty="0">
                <a:ea typeface="+mn-lt"/>
                <a:cs typeface="+mn-lt"/>
              </a:rPr>
              <a:t>Fehlerhafte Einträge und deren Folgen korrigieren (geschätzte Zeit Fehler etc.)</a:t>
            </a:r>
          </a:p>
          <a:p>
            <a:pPr marL="457189" indent="-457189">
              <a:buFont typeface="Arial" panose="020B0604020202020204" pitchFamily="34" charset="0"/>
              <a:buChar char="•"/>
            </a:pPr>
            <a:r>
              <a:rPr lang="de-DE" sz="2900" dirty="0">
                <a:ea typeface="+mn-lt"/>
                <a:cs typeface="+mn-lt"/>
              </a:rPr>
              <a:t>Protokollanten Liste, </a:t>
            </a:r>
            <a:r>
              <a:rPr lang="de-DE" sz="2900" dirty="0" err="1">
                <a:ea typeface="+mn-lt"/>
                <a:cs typeface="+mn-lt"/>
              </a:rPr>
              <a:t>Clockify</a:t>
            </a:r>
            <a:r>
              <a:rPr lang="de-DE" sz="2900" dirty="0">
                <a:ea typeface="+mn-lt"/>
                <a:cs typeface="+mn-lt"/>
              </a:rPr>
              <a:t> Accounts hinzufügen</a:t>
            </a:r>
          </a:p>
          <a:p>
            <a:pPr marL="457189" indent="-457189">
              <a:buFont typeface="Arial" panose="020B0604020202020204" pitchFamily="34" charset="0"/>
              <a:buChar char="•"/>
            </a:pPr>
            <a:r>
              <a:rPr lang="de-DE" sz="2900" dirty="0">
                <a:ea typeface="+mn-lt"/>
                <a:cs typeface="+mn-lt"/>
              </a:rPr>
              <a:t>E-Mails an die Coaches schreiben</a:t>
            </a:r>
          </a:p>
          <a:p>
            <a:pPr marL="457189" indent="-457189">
              <a:buFont typeface="Arial" panose="020B0604020202020204" pitchFamily="34" charset="0"/>
              <a:buChar char="•"/>
            </a:pPr>
            <a:r>
              <a:rPr lang="de-DE" sz="2900" dirty="0">
                <a:ea typeface="+mn-lt"/>
                <a:cs typeface="+mn-lt"/>
              </a:rPr>
              <a:t>anfängliche Änderungen an den Präsentationsfolien</a:t>
            </a:r>
          </a:p>
          <a:p>
            <a:pPr marL="457189" indent="-457189">
              <a:buFont typeface="Arial" panose="020B0604020202020204" pitchFamily="34" charset="0"/>
              <a:buChar char="•"/>
            </a:pPr>
            <a:r>
              <a:rPr lang="de-DE" sz="2900" dirty="0">
                <a:ea typeface="+mn-lt"/>
                <a:cs typeface="+mn-lt"/>
              </a:rPr>
              <a:t>Überprüfen von Einträgen auf Nachfrage</a:t>
            </a:r>
          </a:p>
          <a:p>
            <a:pPr marL="457189" indent="-457189">
              <a:buFont typeface="Arial" panose="020B0604020202020204" pitchFamily="34" charset="0"/>
              <a:buChar char="•"/>
            </a:pPr>
            <a:r>
              <a:rPr lang="de-DE" sz="2900" dirty="0">
                <a:ea typeface="+mn-lt"/>
                <a:cs typeface="+mn-lt"/>
              </a:rPr>
              <a:t>Klärung von Rückfragen bezüglich Aufgaben</a:t>
            </a:r>
          </a:p>
          <a:p>
            <a:endParaRPr lang="de-DE" sz="2900" dirty="0"/>
          </a:p>
          <a:p>
            <a:r>
              <a:rPr lang="de-DE" sz="2900" b="1" dirty="0">
                <a:cs typeface="Calibri"/>
              </a:rPr>
              <a:t>Gesamt:</a:t>
            </a:r>
            <a:r>
              <a:rPr lang="de-DE" sz="2900" dirty="0">
                <a:cs typeface="Calibri"/>
              </a:rPr>
              <a:t> 2 Stunden 57 Minuten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8600577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559506E-A8F9-4342-9360-9F0AAF4C572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4000" y="2016000"/>
            <a:ext cx="10752000" cy="2520000"/>
          </a:xfrm>
        </p:spPr>
        <p:txBody>
          <a:bodyPr wrap="square" anchor="t">
            <a:normAutofit/>
          </a:bodyPr>
          <a:lstStyle/>
          <a:p>
            <a:r>
              <a:rPr lang="de-DE" dirty="0"/>
              <a:t>Demonstration findet nicht über den simulierten Emulator statt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016516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>
            <a:extLst>
              <a:ext uri="{FF2B5EF4-FFF2-40B4-BE49-F238E27FC236}">
                <a16:creationId xmlns:a16="http://schemas.microsoft.com/office/drawing/2014/main" id="{55F3D8C4-BCA4-43D7-AFB7-F0A0B6267077}"/>
              </a:ext>
            </a:extLst>
          </p:cNvPr>
          <p:cNvSpPr txBox="1">
            <a:spLocks/>
          </p:cNvSpPr>
          <p:nvPr/>
        </p:nvSpPr>
        <p:spPr bwMode="auto">
          <a:xfrm>
            <a:off x="1797666" y="718657"/>
            <a:ext cx="8596668" cy="1320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33" kern="1200">
                <a:solidFill>
                  <a:schemeClr val="tx1"/>
                </a:solidFill>
                <a:latin typeface="Verdana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itchFamily="34" charset="0"/>
              </a:defRPr>
            </a:lvl5pPr>
            <a:lvl6pPr marL="609585" algn="ctr" rtl="0" eaLnBrk="1" fontAlgn="base" hangingPunct="1">
              <a:spcBef>
                <a:spcPct val="0"/>
              </a:spcBef>
              <a:spcAft>
                <a:spcPct val="0"/>
              </a:spcAft>
              <a:defRPr sz="5867">
                <a:solidFill>
                  <a:schemeClr val="tx1"/>
                </a:solidFill>
                <a:latin typeface="Calibri" pitchFamily="34" charset="0"/>
              </a:defRPr>
            </a:lvl6pPr>
            <a:lvl7pPr marL="1219170" algn="ctr" rtl="0" eaLnBrk="1" fontAlgn="base" hangingPunct="1">
              <a:spcBef>
                <a:spcPct val="0"/>
              </a:spcBef>
              <a:spcAft>
                <a:spcPct val="0"/>
              </a:spcAft>
              <a:defRPr sz="5867">
                <a:solidFill>
                  <a:schemeClr val="tx1"/>
                </a:solidFill>
                <a:latin typeface="Calibri" pitchFamily="34" charset="0"/>
              </a:defRPr>
            </a:lvl7pPr>
            <a:lvl8pPr marL="1828754" algn="ctr" rtl="0" eaLnBrk="1" fontAlgn="base" hangingPunct="1">
              <a:spcBef>
                <a:spcPct val="0"/>
              </a:spcBef>
              <a:spcAft>
                <a:spcPct val="0"/>
              </a:spcAft>
              <a:defRPr sz="5867">
                <a:solidFill>
                  <a:schemeClr val="tx1"/>
                </a:solidFill>
                <a:latin typeface="Calibri" pitchFamily="34" charset="0"/>
              </a:defRPr>
            </a:lvl8pPr>
            <a:lvl9pPr marL="2438339" algn="ctr" rtl="0" eaLnBrk="1" fontAlgn="base" hangingPunct="1">
              <a:spcBef>
                <a:spcPct val="0"/>
              </a:spcBef>
              <a:spcAft>
                <a:spcPct val="0"/>
              </a:spcAft>
              <a:defRPr sz="5867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r>
              <a:rPr lang="de-DE" dirty="0"/>
              <a:t>Auswertung des Fahrverhalten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F7D14DED-ACBD-499B-8A02-846182DCFD4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45620" y="1199154"/>
            <a:ext cx="2272161" cy="5049245"/>
          </a:xfrm>
          <a:prstGeom prst="rect">
            <a:avLst/>
          </a:prstGeom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C3B77698-4A48-4487-8339-F965CFEB8B2B}"/>
              </a:ext>
            </a:extLst>
          </p:cNvPr>
          <p:cNvSpPr txBox="1"/>
          <p:nvPr/>
        </p:nvSpPr>
        <p:spPr>
          <a:xfrm>
            <a:off x="1946595" y="6255389"/>
            <a:ext cx="227216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 dirty="0"/>
              <a:t>Wochen(Tage) gefahrene Strecke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3B8E1908-8B15-4CED-833D-FDFCA8336FD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9920" y="1139496"/>
            <a:ext cx="2272160" cy="5049245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2CE1FBA8-3C65-4ADB-8910-8673D4019C2A}"/>
              </a:ext>
            </a:extLst>
          </p:cNvPr>
          <p:cNvSpPr txBox="1"/>
          <p:nvPr/>
        </p:nvSpPr>
        <p:spPr>
          <a:xfrm>
            <a:off x="4959920" y="6248399"/>
            <a:ext cx="227216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Jahre(</a:t>
            </a:r>
            <a:r>
              <a:rPr lang="en-US" sz="800" dirty="0" err="1"/>
              <a:t>Monate</a:t>
            </a:r>
            <a:r>
              <a:rPr lang="en-US" sz="800" dirty="0"/>
              <a:t>) </a:t>
            </a:r>
            <a:r>
              <a:rPr lang="en-US" sz="800" dirty="0" err="1"/>
              <a:t>Kraftstoffkosten</a:t>
            </a:r>
            <a:endParaRPr lang="en-US" sz="800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18863B81-6461-42E3-956C-E342E1E9E43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10059" y="1090098"/>
            <a:ext cx="2272161" cy="5049245"/>
          </a:xfrm>
          <a:prstGeom prst="rect">
            <a:avLst/>
          </a:prstGeom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5B31FA53-69BE-4650-852B-C8DA48597986}"/>
              </a:ext>
            </a:extLst>
          </p:cNvPr>
          <p:cNvSpPr txBox="1"/>
          <p:nvPr/>
        </p:nvSpPr>
        <p:spPr>
          <a:xfrm>
            <a:off x="8310058" y="6248399"/>
            <a:ext cx="227216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Jahre(</a:t>
            </a:r>
            <a:r>
              <a:rPr lang="en-US" sz="800" dirty="0" err="1"/>
              <a:t>Monate</a:t>
            </a:r>
            <a:r>
              <a:rPr lang="en-US" sz="800" dirty="0"/>
              <a:t>) CO2</a:t>
            </a:r>
          </a:p>
        </p:txBody>
      </p:sp>
    </p:spTree>
    <p:extLst>
      <p:ext uri="{BB962C8B-B14F-4D97-AF65-F5344CB8AC3E}">
        <p14:creationId xmlns:p14="http://schemas.microsoft.com/office/powerpoint/2010/main" val="9376929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8" grpId="0"/>
      <p:bldP spid="10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>
            <a:extLst>
              <a:ext uri="{FF2B5EF4-FFF2-40B4-BE49-F238E27FC236}">
                <a16:creationId xmlns:a16="http://schemas.microsoft.com/office/drawing/2014/main" id="{CD5A46F9-51F1-41B6-BDB2-B36F3BBDB6FE}"/>
              </a:ext>
            </a:extLst>
          </p:cNvPr>
          <p:cNvSpPr txBox="1">
            <a:spLocks/>
          </p:cNvSpPr>
          <p:nvPr/>
        </p:nvSpPr>
        <p:spPr bwMode="auto">
          <a:xfrm>
            <a:off x="1566567" y="827714"/>
            <a:ext cx="8596668" cy="7494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33" kern="1200">
                <a:solidFill>
                  <a:schemeClr val="tx1"/>
                </a:solidFill>
                <a:latin typeface="Verdana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itchFamily="34" charset="0"/>
              </a:defRPr>
            </a:lvl5pPr>
            <a:lvl6pPr marL="609585" algn="ctr" rtl="0" eaLnBrk="1" fontAlgn="base" hangingPunct="1">
              <a:spcBef>
                <a:spcPct val="0"/>
              </a:spcBef>
              <a:spcAft>
                <a:spcPct val="0"/>
              </a:spcAft>
              <a:defRPr sz="5867">
                <a:solidFill>
                  <a:schemeClr val="tx1"/>
                </a:solidFill>
                <a:latin typeface="Calibri" pitchFamily="34" charset="0"/>
              </a:defRPr>
            </a:lvl6pPr>
            <a:lvl7pPr marL="1219170" algn="ctr" rtl="0" eaLnBrk="1" fontAlgn="base" hangingPunct="1">
              <a:spcBef>
                <a:spcPct val="0"/>
              </a:spcBef>
              <a:spcAft>
                <a:spcPct val="0"/>
              </a:spcAft>
              <a:defRPr sz="5867">
                <a:solidFill>
                  <a:schemeClr val="tx1"/>
                </a:solidFill>
                <a:latin typeface="Calibri" pitchFamily="34" charset="0"/>
              </a:defRPr>
            </a:lvl7pPr>
            <a:lvl8pPr marL="1828754" algn="ctr" rtl="0" eaLnBrk="1" fontAlgn="base" hangingPunct="1">
              <a:spcBef>
                <a:spcPct val="0"/>
              </a:spcBef>
              <a:spcAft>
                <a:spcPct val="0"/>
              </a:spcAft>
              <a:defRPr sz="5867">
                <a:solidFill>
                  <a:schemeClr val="tx1"/>
                </a:solidFill>
                <a:latin typeface="Calibri" pitchFamily="34" charset="0"/>
              </a:defRPr>
            </a:lvl8pPr>
            <a:lvl9pPr marL="2438339" algn="ctr" rtl="0" eaLnBrk="1" fontAlgn="base" hangingPunct="1">
              <a:spcBef>
                <a:spcPct val="0"/>
              </a:spcBef>
              <a:spcAft>
                <a:spcPct val="0"/>
              </a:spcAft>
              <a:defRPr sz="5867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r>
              <a:rPr lang="de-DE"/>
              <a:t>Unterstützt die Planung</a:t>
            </a:r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B5CEB906-758A-49CD-855A-277ABADBEE1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82975" y="1202422"/>
            <a:ext cx="2286934" cy="5082074"/>
          </a:xfrm>
          <a:prstGeom prst="rect">
            <a:avLst/>
          </a:prstGeom>
        </p:spPr>
      </p:pic>
      <p:pic>
        <p:nvPicPr>
          <p:cNvPr id="6" name="Grafik 5" descr="Ein Bild, das Tisch enthält.&#10;&#10;Automatisch generierte Beschreibung">
            <a:extLst>
              <a:ext uri="{FF2B5EF4-FFF2-40B4-BE49-F238E27FC236}">
                <a16:creationId xmlns:a16="http://schemas.microsoft.com/office/drawing/2014/main" id="{46BF42C3-165D-472E-8E4D-32D84AC3B25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03095" y="1202421"/>
            <a:ext cx="2286934" cy="5082075"/>
          </a:xfrm>
          <a:prstGeom prst="rect">
            <a:avLst/>
          </a:prstGeo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A9F8EC7B-6C71-484F-BB14-B220C6255E01}"/>
              </a:ext>
            </a:extLst>
          </p:cNvPr>
          <p:cNvSpPr txBox="1"/>
          <p:nvPr/>
        </p:nvSpPr>
        <p:spPr>
          <a:xfrm>
            <a:off x="2482975" y="6342586"/>
            <a:ext cx="228693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800" dirty="0" err="1"/>
              <a:t>Steckenplanung</a:t>
            </a:r>
            <a:endParaRPr lang="de-DE" sz="800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F3226EDE-7944-42FE-8557-8C603FD1E088}"/>
              </a:ext>
            </a:extLst>
          </p:cNvPr>
          <p:cNvSpPr txBox="1"/>
          <p:nvPr/>
        </p:nvSpPr>
        <p:spPr>
          <a:xfrm>
            <a:off x="7003095" y="6234864"/>
            <a:ext cx="228693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Status</a:t>
            </a:r>
          </a:p>
        </p:txBody>
      </p:sp>
    </p:spTree>
    <p:extLst>
      <p:ext uri="{BB962C8B-B14F-4D97-AF65-F5344CB8AC3E}">
        <p14:creationId xmlns:p14="http://schemas.microsoft.com/office/powerpoint/2010/main" val="14727589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8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>
            <a:extLst>
              <a:ext uri="{FF2B5EF4-FFF2-40B4-BE49-F238E27FC236}">
                <a16:creationId xmlns:a16="http://schemas.microsoft.com/office/drawing/2014/main" id="{48B4D253-7E99-41C0-8742-511E7BB3DBC3}"/>
              </a:ext>
            </a:extLst>
          </p:cNvPr>
          <p:cNvSpPr txBox="1">
            <a:spLocks/>
          </p:cNvSpPr>
          <p:nvPr/>
        </p:nvSpPr>
        <p:spPr bwMode="auto">
          <a:xfrm>
            <a:off x="1797666" y="634767"/>
            <a:ext cx="8596668" cy="5900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33" kern="1200">
                <a:solidFill>
                  <a:schemeClr val="tx1"/>
                </a:solidFill>
                <a:latin typeface="Verdana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itchFamily="34" charset="0"/>
              </a:defRPr>
            </a:lvl5pPr>
            <a:lvl6pPr marL="609585" algn="ctr" rtl="0" eaLnBrk="1" fontAlgn="base" hangingPunct="1">
              <a:spcBef>
                <a:spcPct val="0"/>
              </a:spcBef>
              <a:spcAft>
                <a:spcPct val="0"/>
              </a:spcAft>
              <a:defRPr sz="5867">
                <a:solidFill>
                  <a:schemeClr val="tx1"/>
                </a:solidFill>
                <a:latin typeface="Calibri" pitchFamily="34" charset="0"/>
              </a:defRPr>
            </a:lvl6pPr>
            <a:lvl7pPr marL="1219170" algn="ctr" rtl="0" eaLnBrk="1" fontAlgn="base" hangingPunct="1">
              <a:spcBef>
                <a:spcPct val="0"/>
              </a:spcBef>
              <a:spcAft>
                <a:spcPct val="0"/>
              </a:spcAft>
              <a:defRPr sz="5867">
                <a:solidFill>
                  <a:schemeClr val="tx1"/>
                </a:solidFill>
                <a:latin typeface="Calibri" pitchFamily="34" charset="0"/>
              </a:defRPr>
            </a:lvl7pPr>
            <a:lvl8pPr marL="1828754" algn="ctr" rtl="0" eaLnBrk="1" fontAlgn="base" hangingPunct="1">
              <a:spcBef>
                <a:spcPct val="0"/>
              </a:spcBef>
              <a:spcAft>
                <a:spcPct val="0"/>
              </a:spcAft>
              <a:defRPr sz="5867">
                <a:solidFill>
                  <a:schemeClr val="tx1"/>
                </a:solidFill>
                <a:latin typeface="Calibri" pitchFamily="34" charset="0"/>
              </a:defRPr>
            </a:lvl8pPr>
            <a:lvl9pPr marL="2438339" algn="ctr" rtl="0" eaLnBrk="1" fontAlgn="base" hangingPunct="1">
              <a:spcBef>
                <a:spcPct val="0"/>
              </a:spcBef>
              <a:spcAft>
                <a:spcPct val="0"/>
              </a:spcAft>
              <a:defRPr sz="5867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r>
              <a:rPr lang="de-DE"/>
              <a:t>Archiv</a:t>
            </a:r>
            <a:r>
              <a:rPr lang="en-US"/>
              <a:t> des Autos</a:t>
            </a:r>
            <a:endParaRPr lang="en-US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63C3C054-87E6-4E0B-BDBD-714850C1121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28962" y="1212209"/>
            <a:ext cx="2233749" cy="4963886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F9825DB3-C774-460C-B653-735A963CFF0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7688" y="1199624"/>
            <a:ext cx="2233749" cy="4963887"/>
          </a:xfrm>
          <a:prstGeom prst="rect">
            <a:avLst/>
          </a:prstGeo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767ED695-67C2-49FC-98D4-06DF884FED5B}"/>
              </a:ext>
            </a:extLst>
          </p:cNvPr>
          <p:cNvSpPr txBox="1"/>
          <p:nvPr/>
        </p:nvSpPr>
        <p:spPr>
          <a:xfrm>
            <a:off x="2228962" y="6176095"/>
            <a:ext cx="223374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800" dirty="0"/>
              <a:t>Benutzerdefinierte Einträge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36729105-A3D0-4379-86E1-B8522A67C47B}"/>
              </a:ext>
            </a:extLst>
          </p:cNvPr>
          <p:cNvSpPr txBox="1"/>
          <p:nvPr/>
        </p:nvSpPr>
        <p:spPr>
          <a:xfrm>
            <a:off x="7857688" y="6163511"/>
            <a:ext cx="223374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800" dirty="0"/>
              <a:t>Dokumenten-Backups</a:t>
            </a:r>
          </a:p>
        </p:txBody>
      </p:sp>
    </p:spTree>
    <p:extLst>
      <p:ext uri="{BB962C8B-B14F-4D97-AF65-F5344CB8AC3E}">
        <p14:creationId xmlns:p14="http://schemas.microsoft.com/office/powerpoint/2010/main" val="27493010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8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>
            <a:extLst>
              <a:ext uri="{FF2B5EF4-FFF2-40B4-BE49-F238E27FC236}">
                <a16:creationId xmlns:a16="http://schemas.microsoft.com/office/drawing/2014/main" id="{385E09D1-A0A7-4268-882C-B0DD4B2F1C14}"/>
              </a:ext>
            </a:extLst>
          </p:cNvPr>
          <p:cNvSpPr txBox="1">
            <a:spLocks/>
          </p:cNvSpPr>
          <p:nvPr/>
        </p:nvSpPr>
        <p:spPr bwMode="auto">
          <a:xfrm>
            <a:off x="1540777" y="605703"/>
            <a:ext cx="109728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33" kern="1200">
                <a:solidFill>
                  <a:schemeClr val="tx1"/>
                </a:solidFill>
                <a:latin typeface="Verdana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itchFamily="34" charset="0"/>
              </a:defRPr>
            </a:lvl5pPr>
            <a:lvl6pPr marL="609585" algn="ctr" rtl="0" eaLnBrk="1" fontAlgn="base" hangingPunct="1">
              <a:spcBef>
                <a:spcPct val="0"/>
              </a:spcBef>
              <a:spcAft>
                <a:spcPct val="0"/>
              </a:spcAft>
              <a:defRPr sz="5867">
                <a:solidFill>
                  <a:schemeClr val="tx1"/>
                </a:solidFill>
                <a:latin typeface="Calibri" pitchFamily="34" charset="0"/>
              </a:defRPr>
            </a:lvl6pPr>
            <a:lvl7pPr marL="1219170" algn="ctr" rtl="0" eaLnBrk="1" fontAlgn="base" hangingPunct="1">
              <a:spcBef>
                <a:spcPct val="0"/>
              </a:spcBef>
              <a:spcAft>
                <a:spcPct val="0"/>
              </a:spcAft>
              <a:defRPr sz="5867">
                <a:solidFill>
                  <a:schemeClr val="tx1"/>
                </a:solidFill>
                <a:latin typeface="Calibri" pitchFamily="34" charset="0"/>
              </a:defRPr>
            </a:lvl7pPr>
            <a:lvl8pPr marL="1828754" algn="ctr" rtl="0" eaLnBrk="1" fontAlgn="base" hangingPunct="1">
              <a:spcBef>
                <a:spcPct val="0"/>
              </a:spcBef>
              <a:spcAft>
                <a:spcPct val="0"/>
              </a:spcAft>
              <a:defRPr sz="5867">
                <a:solidFill>
                  <a:schemeClr val="tx1"/>
                </a:solidFill>
                <a:latin typeface="Calibri" pitchFamily="34" charset="0"/>
              </a:defRPr>
            </a:lvl8pPr>
            <a:lvl9pPr marL="2438339" algn="ctr" rtl="0" eaLnBrk="1" fontAlgn="base" hangingPunct="1">
              <a:spcBef>
                <a:spcPct val="0"/>
              </a:spcBef>
              <a:spcAft>
                <a:spcPct val="0"/>
              </a:spcAft>
              <a:defRPr sz="5867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de-DE" sz="2800" dirty="0"/>
              <a:t>Digitales Fahrtenbuch</a:t>
            </a:r>
          </a:p>
        </p:txBody>
      </p:sp>
      <p:sp>
        <p:nvSpPr>
          <p:cNvPr id="5" name="Content Placeholder 3">
            <a:extLst>
              <a:ext uri="{FF2B5EF4-FFF2-40B4-BE49-F238E27FC236}">
                <a16:creationId xmlns:a16="http://schemas.microsoft.com/office/drawing/2014/main" id="{B85AF77F-2B46-46B5-AEC4-F38637433FAE}"/>
              </a:ext>
            </a:extLst>
          </p:cNvPr>
          <p:cNvSpPr txBox="1">
            <a:spLocks/>
          </p:cNvSpPr>
          <p:nvPr/>
        </p:nvSpPr>
        <p:spPr>
          <a:xfrm>
            <a:off x="1256175" y="2059921"/>
            <a:ext cx="4184035" cy="3880772"/>
          </a:xfrm>
          <a:prstGeom prst="rect">
            <a:avLst/>
          </a:prstGeom>
        </p:spPr>
        <p:txBody>
          <a:bodyPr>
            <a:normAutofit/>
          </a:bodyPr>
          <a:lstStyle>
            <a:lvl1pPr marL="457189" indent="-457189" algn="l" rtl="0" eaLnBrk="1" fontAlgn="base" hangingPunct="1">
              <a:spcBef>
                <a:spcPct val="2000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1pPr>
            <a:lvl2pPr marL="990575" indent="-380990" algn="l" rtl="0" eaLnBrk="1" fontAlgn="base" hangingPunct="1">
              <a:spcBef>
                <a:spcPts val="2667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 marL="965176" indent="-491054" algn="l" rtl="0" eaLnBrk="1" fontAlgn="base" hangingPunct="1">
              <a:spcBef>
                <a:spcPct val="20000"/>
              </a:spcBef>
              <a:spcAft>
                <a:spcPct val="0"/>
              </a:spcAft>
              <a:buFont typeface="Verdana" panose="020B0604030504040204" pitchFamily="34" charset="0"/>
              <a:buChar char="&gt;"/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2133547" indent="-304792" algn="l" rtl="0" eaLnBrk="1" fontAlgn="base" hangingPunct="1">
              <a:spcBef>
                <a:spcPts val="2133"/>
              </a:spcBef>
              <a:spcAft>
                <a:spcPct val="0"/>
              </a:spcAft>
              <a:buFont typeface="Arial" panose="020B0604020202020204" pitchFamily="34" charset="0"/>
              <a:defRPr sz="2133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 marL="965176" indent="-491054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&gt;"/>
              <a:defRPr sz="2133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335271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2200" dirty="0"/>
              <a:t>Unterscheidet zwischen Privater &amp; Beruflicher Fahrt</a:t>
            </a:r>
          </a:p>
          <a:p>
            <a:r>
              <a:rPr lang="de-DE" sz="2200" dirty="0"/>
              <a:t>Abrechnung nach KM oder Verbrauch, beides Gespeichert</a:t>
            </a:r>
          </a:p>
          <a:p>
            <a:r>
              <a:rPr lang="de-DE" sz="2200" dirty="0"/>
              <a:t>Genauem Datum zu ortbar</a:t>
            </a:r>
          </a:p>
        </p:txBody>
      </p:sp>
      <p:pic>
        <p:nvPicPr>
          <p:cNvPr id="6" name="Grafik 5" descr="Ein Bild, das Tisch enthält.&#10;&#10;Automatisch generierte Beschreibung">
            <a:extLst>
              <a:ext uri="{FF2B5EF4-FFF2-40B4-BE49-F238E27FC236}">
                <a16:creationId xmlns:a16="http://schemas.microsoft.com/office/drawing/2014/main" id="{8C614A0B-7840-4D6B-87DF-F8C140D906A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30633" y="1009423"/>
            <a:ext cx="2177619" cy="483915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0851448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13EC22A-3DC7-486C-997E-72D283DE69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30005" y="352287"/>
            <a:ext cx="7331989" cy="960000"/>
          </a:xfrm>
        </p:spPr>
        <p:txBody>
          <a:bodyPr wrap="square" anchor="t">
            <a:normAutofit/>
          </a:bodyPr>
          <a:lstStyle/>
          <a:p>
            <a:r>
              <a:rPr lang="de-DE" dirty="0"/>
              <a:t>Passt zur Konfiguration des Nutzers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B5928B89-B488-4D22-BB24-FFD50629392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16000" y="1499619"/>
            <a:ext cx="2160000" cy="48000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77160783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607A73AE-B3F7-4ACA-B2EA-F286BB1A2E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0659896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243" name="think-cell Folie" r:id="rId4" imgW="351" imgH="351" progId="TCLayout.ActiveDocument.1">
                  <p:embed/>
                </p:oleObj>
              </mc:Choice>
              <mc:Fallback>
                <p:oleObj name="think-cell Folie" r:id="rId4" imgW="351" imgH="351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607A73AE-B3F7-4ACA-B2EA-F286BB1A2E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43" name="Inhaltsplatzhalter 5">
            <a:extLst>
              <a:ext uri="{FF2B5EF4-FFF2-40B4-BE49-F238E27FC236}">
                <a16:creationId xmlns:a16="http://schemas.microsoft.com/office/drawing/2014/main" id="{DE039577-90EC-47DC-B7B0-ACBC6F0DD9D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3117" y="2000251"/>
            <a:ext cx="10752667" cy="4334933"/>
          </a:xfrm>
        </p:spPr>
        <p:txBody>
          <a:bodyPr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de-DE" altLang="de-DE" dirty="0" err="1">
                <a:solidFill>
                  <a:srgbClr val="00B1AC"/>
                </a:solidFill>
                <a:latin typeface="Verdana"/>
                <a:ea typeface="Verdana"/>
              </a:rPr>
              <a:t>Lessons</a:t>
            </a:r>
            <a:r>
              <a:rPr lang="de-DE" altLang="de-DE" dirty="0">
                <a:solidFill>
                  <a:srgbClr val="00B1AC"/>
                </a:solidFill>
                <a:latin typeface="Verdana"/>
                <a:ea typeface="Verdana"/>
              </a:rPr>
              <a:t> </a:t>
            </a:r>
            <a:r>
              <a:rPr lang="de-DE" altLang="de-DE" dirty="0" err="1">
                <a:latin typeface="Verdana"/>
                <a:ea typeface="Verdana"/>
              </a:rPr>
              <a:t>Learned</a:t>
            </a:r>
            <a:endParaRPr lang="de-DE" altLang="de-DE" dirty="0" err="1">
              <a:ea typeface="Verdana"/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63CEDE26-18ED-4C57-A196-28A1FBB6A7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2571744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6144EC23-4841-4594-91C0-06563C0372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03171243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219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6144EC23-4841-4594-91C0-06563C0372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78B80854-B112-4968-B243-5B357DFC6A69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de-DE" b="1" dirty="0"/>
              <a:t>Folgen falls nicht: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sz="2700" dirty="0"/>
              <a:t>Mittel zur Visualisierung verlieren ihre Aussagekraft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sz="2700" dirty="0">
                <a:latin typeface="Verdana"/>
                <a:ea typeface="Verdana"/>
              </a:rPr>
              <a:t>Schätzungen werden im Nachhinein schwer nachvollziehbar (600 Stunden -&gt; 291 Stunden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sz="2700" dirty="0"/>
              <a:t>Wichtige Meilensteine könnten gefährdet werden</a:t>
            </a:r>
          </a:p>
          <a:p>
            <a:pPr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BFE2242F-F997-4289-B083-530238C1E9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b="1" dirty="0"/>
              <a:t>Man sollte möglichst früh einen vollständigen ersten Projektplan aufsetzen. </a:t>
            </a:r>
            <a:br>
              <a:rPr lang="de-DE" dirty="0"/>
            </a:br>
            <a:endParaRPr lang="de-DE" dirty="0"/>
          </a:p>
        </p:txBody>
      </p:sp>
      <p:graphicFrame>
        <p:nvGraphicFramePr>
          <p:cNvPr id="8" name="Inhaltsplatzhalter 7">
            <a:extLst>
              <a:ext uri="{FF2B5EF4-FFF2-40B4-BE49-F238E27FC236}">
                <a16:creationId xmlns:a16="http://schemas.microsoft.com/office/drawing/2014/main" id="{00000000-0008-0000-0000-000002000000}"/>
              </a:ext>
            </a:extLst>
          </p:cNvPr>
          <p:cNvGraphicFramePr>
            <a:graphicFrameLocks noGrp="1"/>
          </p:cNvGraphicFramePr>
          <p:nvPr>
            <p:ph sz="half" idx="10"/>
          </p:nvPr>
        </p:nvGraphicFramePr>
        <p:xfrm>
          <a:off x="5952067" y="1536701"/>
          <a:ext cx="5183717" cy="47984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40021853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F1040072-AE0A-429C-B714-59396F52956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3700078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195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F1040072-AE0A-429C-B714-59396F5295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7ABAD94-533A-43ED-8518-DDA6AAC7DD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b="1" dirty="0"/>
              <a:t>Feste Zuständigkeiten für jede Aufgabe sind ein muss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DC109B3-C196-4852-9D74-13367C1E13B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b="1" dirty="0"/>
              <a:t>Folgen falls nicht:</a:t>
            </a:r>
          </a:p>
          <a:p>
            <a:pPr marL="457189" indent="-457189">
              <a:buFont typeface="Arial" panose="020B0604020202020204" pitchFamily="34" charset="0"/>
              <a:buChar char="•"/>
            </a:pPr>
            <a:r>
              <a:rPr lang="de-DE" dirty="0"/>
              <a:t>Niemand fühlt sich wirklich zuständig</a:t>
            </a:r>
          </a:p>
          <a:p>
            <a:pPr marL="457189" indent="-457189">
              <a:buFont typeface="Arial" panose="020B0604020202020204" pitchFamily="34" charset="0"/>
              <a:buChar char="•"/>
            </a:pPr>
            <a:r>
              <a:rPr lang="de-DE" dirty="0"/>
              <a:t>Oft fehlt es an Eigeninitiative</a:t>
            </a:r>
          </a:p>
          <a:p>
            <a:pPr marL="457189" indent="-457189">
              <a:buFont typeface="Arial" panose="020B0604020202020204" pitchFamily="34" charset="0"/>
              <a:buChar char="•"/>
            </a:pPr>
            <a:r>
              <a:rPr lang="de-DE" dirty="0"/>
              <a:t>Aufgaben werden verspätet fertig oder gar nicht</a:t>
            </a:r>
          </a:p>
          <a:p>
            <a:pPr marL="457189" indent="-457189">
              <a:buFont typeface="Arial" panose="020B0604020202020204" pitchFamily="34" charset="0"/>
              <a:buChar char="•"/>
            </a:pPr>
            <a:r>
              <a:rPr lang="de-DE" dirty="0"/>
              <a:t>Selbst bei Bearbeitung scheitert es an Kleinigkeiten (Rückmeldung)</a:t>
            </a:r>
          </a:p>
          <a:p>
            <a:pPr marL="457189" indent="-457189">
              <a:buFont typeface="Arial" panose="020B0604020202020204" pitchFamily="34" charset="0"/>
              <a:buChar char="•"/>
            </a:pPr>
            <a:r>
              <a:rPr lang="de-DE" dirty="0"/>
              <a:t>Ansprechpartner bei Rückfragen fehlt</a:t>
            </a:r>
          </a:p>
          <a:p>
            <a:pPr marL="457189" indent="-457189">
              <a:buFont typeface="Arial" panose="020B0604020202020204" pitchFamily="34" charset="0"/>
              <a:buChar char="•"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2657413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ADDBA6C-BBD8-4706-A0AD-97FCE3CAB98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7840787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171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ADDBA6C-BBD8-4706-A0AD-97FCE3CAB9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4B734539-639E-41BE-A941-F18EBD4F0406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de-DE" sz="2700" b="1" dirty="0"/>
              <a:t>Folgen falls der Aufwand</a:t>
            </a:r>
          </a:p>
          <a:p>
            <a:r>
              <a:rPr lang="de-DE" sz="2700" b="1" dirty="0"/>
              <a:t>unterschätzt wird: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sz="2700" dirty="0"/>
              <a:t>Es kommt zu unnötigem Stres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sz="2700" dirty="0"/>
              <a:t>Das beheben der Bugs wird schwerer zu koordinieren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sz="2700" dirty="0" err="1"/>
              <a:t>Worst</a:t>
            </a:r>
            <a:r>
              <a:rPr lang="de-DE" sz="2700" dirty="0"/>
              <a:t> Case: Anwendung wird fehlerhaft ausgeliefert/nicht abgenommen</a:t>
            </a:r>
          </a:p>
          <a:p>
            <a:pPr>
              <a:buFont typeface="Arial" panose="020B0604020202020204" pitchFamily="34" charset="0"/>
              <a:buChar char="•"/>
            </a:pPr>
            <a:endParaRPr lang="de-DE" b="1" dirty="0"/>
          </a:p>
          <a:p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C0A6DD7D-129F-4865-8367-645E5596EA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b="1" dirty="0"/>
              <a:t>Der Zeitaufwand für das Testen und Bugs beheben ist leicht zu unterschätzen.</a:t>
            </a:r>
            <a:endParaRPr lang="de-DE" dirty="0"/>
          </a:p>
        </p:txBody>
      </p:sp>
      <p:graphicFrame>
        <p:nvGraphicFramePr>
          <p:cNvPr id="7" name="Inhaltsplatzhalter 9">
            <a:extLst>
              <a:ext uri="{FF2B5EF4-FFF2-40B4-BE49-F238E27FC236}">
                <a16:creationId xmlns:a16="http://schemas.microsoft.com/office/drawing/2014/main" id="{C91A97AE-7F49-4CBD-8BF4-F21B4E3E61EA}"/>
              </a:ext>
            </a:extLst>
          </p:cNvPr>
          <p:cNvGraphicFramePr>
            <a:graphicFrameLocks noGrp="1"/>
          </p:cNvGraphicFramePr>
          <p:nvPr>
            <p:ph sz="half" idx="10"/>
            <p:extLst>
              <p:ext uri="{D42A27DB-BD31-4B8C-83A1-F6EECF244321}">
                <p14:modId xmlns:p14="http://schemas.microsoft.com/office/powerpoint/2010/main" val="3132205191"/>
              </p:ext>
            </p:extLst>
          </p:nvPr>
        </p:nvGraphicFramePr>
        <p:xfrm>
          <a:off x="5952067" y="1536701"/>
          <a:ext cx="5183717" cy="47984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64247060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E359214-CA2F-4F58-9646-35E5506E715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8088083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3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7E359214-CA2F-4F58-9646-35E5506E71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B4771AA-1E9D-4CA9-A8EB-35C551EFE9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b="1" dirty="0"/>
              <a:t>Teamaufwände</a:t>
            </a:r>
          </a:p>
        </p:txBody>
      </p:sp>
      <p:graphicFrame>
        <p:nvGraphicFramePr>
          <p:cNvPr id="4" name="Tabelle 4">
            <a:extLst>
              <a:ext uri="{FF2B5EF4-FFF2-40B4-BE49-F238E27FC236}">
                <a16:creationId xmlns:a16="http://schemas.microsoft.com/office/drawing/2014/main" id="{E4325B43-EF9A-4F70-8B37-63633A1354FB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329372978"/>
              </p:ext>
            </p:extLst>
          </p:nvPr>
        </p:nvGraphicFramePr>
        <p:xfrm>
          <a:off x="383118" y="1536700"/>
          <a:ext cx="10752665" cy="4163552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3579699">
                  <a:extLst>
                    <a:ext uri="{9D8B030D-6E8A-4147-A177-3AD203B41FA5}">
                      <a16:colId xmlns:a16="http://schemas.microsoft.com/office/drawing/2014/main" val="4175208722"/>
                    </a:ext>
                  </a:extLst>
                </a:gridCol>
                <a:gridCol w="3600405">
                  <a:extLst>
                    <a:ext uri="{9D8B030D-6E8A-4147-A177-3AD203B41FA5}">
                      <a16:colId xmlns:a16="http://schemas.microsoft.com/office/drawing/2014/main" val="140686410"/>
                    </a:ext>
                  </a:extLst>
                </a:gridCol>
                <a:gridCol w="3572561">
                  <a:extLst>
                    <a:ext uri="{9D8B030D-6E8A-4147-A177-3AD203B41FA5}">
                      <a16:colId xmlns:a16="http://schemas.microsoft.com/office/drawing/2014/main" val="84460051"/>
                    </a:ext>
                  </a:extLst>
                </a:gridCol>
              </a:tblGrid>
              <a:tr h="660400">
                <a:tc>
                  <a:txBody>
                    <a:bodyPr/>
                    <a:lstStyle/>
                    <a:p>
                      <a:r>
                        <a:rPr lang="de-DE" sz="19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+mn-lt"/>
                        </a:rPr>
                        <a:t>Na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900" dirty="0">
                          <a:solidFill>
                            <a:schemeClr val="tx1"/>
                          </a:solidFill>
                        </a:rPr>
                        <a:t>Aufwand letzte Kalenderwoche (KW 2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900" dirty="0">
                          <a:solidFill>
                            <a:schemeClr val="tx1"/>
                          </a:solidFill>
                        </a:rPr>
                        <a:t>Aufwand kumulier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76080297"/>
                  </a:ext>
                </a:extLst>
              </a:tr>
              <a:tr h="436624">
                <a:tc>
                  <a:txBody>
                    <a:bodyPr/>
                    <a:lstStyle/>
                    <a:p>
                      <a:r>
                        <a:rPr lang="de-DE" sz="1900" dirty="0"/>
                        <a:t>Florian Dohm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900" dirty="0"/>
                        <a:t>9 Stunden 26 Minut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900" dirty="0"/>
                        <a:t>38 Stunden 25 Minut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76264594"/>
                  </a:ext>
                </a:extLst>
              </a:tr>
              <a:tr h="436624">
                <a:tc>
                  <a:txBody>
                    <a:bodyPr/>
                    <a:lstStyle/>
                    <a:p>
                      <a:r>
                        <a:rPr lang="de-DE" sz="1900" dirty="0" err="1"/>
                        <a:t>Dirar</a:t>
                      </a:r>
                      <a:r>
                        <a:rPr lang="de-DE" sz="1900" dirty="0"/>
                        <a:t> </a:t>
                      </a:r>
                      <a:r>
                        <a:rPr lang="de-DE" sz="1900" dirty="0" err="1"/>
                        <a:t>Janadi</a:t>
                      </a:r>
                      <a:endParaRPr lang="de-DE" sz="1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900" dirty="0"/>
                        <a:t>0 Minut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900" dirty="0"/>
                        <a:t>36 Stunden 2 Minut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22723976"/>
                  </a:ext>
                </a:extLst>
              </a:tr>
              <a:tr h="436624">
                <a:tc>
                  <a:txBody>
                    <a:bodyPr/>
                    <a:lstStyle/>
                    <a:p>
                      <a:r>
                        <a:rPr lang="de-DE" sz="1900" dirty="0"/>
                        <a:t>Hai Yen Nguyen Th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900" dirty="0"/>
                        <a:t>0 Minut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900" dirty="0"/>
                        <a:t>49 Stunden 46 Minut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99298818"/>
                  </a:ext>
                </a:extLst>
              </a:tr>
              <a:tr h="436624">
                <a:tc>
                  <a:txBody>
                    <a:bodyPr/>
                    <a:lstStyle/>
                    <a:p>
                      <a:r>
                        <a:rPr lang="de-DE" sz="1900" dirty="0"/>
                        <a:t>Joshua </a:t>
                      </a:r>
                      <a:r>
                        <a:rPr lang="de-DE" sz="1900" dirty="0" err="1"/>
                        <a:t>Jedidiah</a:t>
                      </a:r>
                      <a:r>
                        <a:rPr lang="de-DE" sz="1900" dirty="0"/>
                        <a:t> </a:t>
                      </a:r>
                      <a:r>
                        <a:rPr lang="de-DE" sz="1900" dirty="0" err="1"/>
                        <a:t>Widya</a:t>
                      </a:r>
                      <a:endParaRPr lang="de-DE" sz="1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900" dirty="0"/>
                        <a:t>10 Stunden 23 Minut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900" dirty="0"/>
                        <a:t>40 Stunden 56 Minut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24486342"/>
                  </a:ext>
                </a:extLst>
              </a:tr>
              <a:tr h="436624">
                <a:tc>
                  <a:txBody>
                    <a:bodyPr/>
                    <a:lstStyle/>
                    <a:p>
                      <a:r>
                        <a:rPr lang="de-DE" sz="1900" dirty="0"/>
                        <a:t>Simon </a:t>
                      </a:r>
                      <a:r>
                        <a:rPr lang="de-DE" sz="1900" dirty="0" err="1"/>
                        <a:t>Kalytta</a:t>
                      </a:r>
                      <a:endParaRPr lang="de-DE" sz="1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900" dirty="0"/>
                        <a:t>11 Stunden 30 Minut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900" dirty="0"/>
                        <a:t>92 Stunden 8 Minut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4163695"/>
                  </a:ext>
                </a:extLst>
              </a:tr>
              <a:tr h="436624">
                <a:tc>
                  <a:txBody>
                    <a:bodyPr/>
                    <a:lstStyle/>
                    <a:p>
                      <a:r>
                        <a:rPr lang="de-DE" sz="1900" dirty="0"/>
                        <a:t>Anas </a:t>
                      </a:r>
                      <a:r>
                        <a:rPr lang="de-DE" sz="1900" dirty="0" err="1"/>
                        <a:t>Shebabi</a:t>
                      </a:r>
                      <a:endParaRPr lang="de-DE" sz="1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900" dirty="0"/>
                        <a:t>0 Minut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900" dirty="0"/>
                        <a:t>38 Stunden 20 Minut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74994017"/>
                  </a:ext>
                </a:extLst>
              </a:tr>
              <a:tr h="436624">
                <a:tc>
                  <a:txBody>
                    <a:bodyPr/>
                    <a:lstStyle/>
                    <a:p>
                      <a:r>
                        <a:rPr lang="de-DE" sz="1900" dirty="0" err="1"/>
                        <a:t>Saroj</a:t>
                      </a:r>
                      <a:r>
                        <a:rPr lang="de-DE" sz="1900" dirty="0"/>
                        <a:t> Sa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900" dirty="0"/>
                        <a:t>0 Minut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900" dirty="0"/>
                        <a:t>26 Stunden 42 Minut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47212887"/>
                  </a:ext>
                </a:extLst>
              </a:tr>
              <a:tr h="436624">
                <a:tc>
                  <a:txBody>
                    <a:bodyPr/>
                    <a:lstStyle/>
                    <a:p>
                      <a:r>
                        <a:rPr lang="de-DE" sz="1900" b="1" dirty="0"/>
                        <a:t>Gesam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900" dirty="0"/>
                        <a:t>31 Stunden 19 Minut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900" dirty="0"/>
                        <a:t>322 Stunden 19 Minut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3149319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2430754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30DB3319-DE76-4180-B4C5-84EB29D1BEE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56111221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147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30DB3319-DE76-4180-B4C5-84EB29D1BE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BC2CFF89-CB90-43F5-B607-2335C7F69106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de-DE" sz="2700" b="1" dirty="0"/>
              <a:t>Folgen: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sz="2700" dirty="0"/>
              <a:t>Aufgaben geraten in Verzug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sz="2700" dirty="0"/>
              <a:t>Änderungen im Projektplan werden nötig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sz="2700" dirty="0"/>
              <a:t>Das erholen in den Ferien wird kaum möglich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sz="2700" dirty="0"/>
              <a:t>Generelle Frustration</a:t>
            </a:r>
          </a:p>
          <a:p>
            <a:pPr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23457C0-5C34-467D-A10F-C45C6DE43C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b="1" dirty="0"/>
              <a:t>Planung über freie Tage/Ferien ist oft zu optimistisch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A2B90D3C-44B0-4699-A700-9EC6C8DA7414}"/>
              </a:ext>
            </a:extLst>
          </p:cNvPr>
          <p:cNvSpPr>
            <a:spLocks noGrp="1"/>
          </p:cNvSpPr>
          <p:nvPr>
            <p:ph sz="half" idx="10"/>
          </p:nvPr>
        </p:nvSpPr>
        <p:spPr/>
        <p:txBody>
          <a:bodyPr/>
          <a:lstStyle/>
          <a:p>
            <a:r>
              <a:rPr lang="de-DE" sz="2400" b="1" dirty="0"/>
              <a:t>Möglichkeiten das zu</a:t>
            </a:r>
          </a:p>
          <a:p>
            <a:r>
              <a:rPr lang="de-DE" sz="2400" b="1" dirty="0"/>
              <a:t>vermeiden: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sz="2400" dirty="0"/>
              <a:t>Bei der Planung die  Ferientage erstmal nicht mit einbeziehen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sz="2400" dirty="0"/>
              <a:t>Objektiv überlegen ob die Erholungszeit dadurch noch reicht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sz="2400" dirty="0"/>
              <a:t>Setzen eigener fester Deadline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sz="2400" dirty="0">
                <a:latin typeface="Verdana"/>
                <a:ea typeface="Verdana"/>
              </a:rPr>
              <a:t>Sich selbst belohnen, um die Motivation zu erhalten</a:t>
            </a:r>
          </a:p>
          <a:p>
            <a:pPr>
              <a:buFont typeface="Arial" panose="020B0604020202020204" pitchFamily="34" charset="0"/>
              <a:buChar char="•"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4364131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BF52E130-C080-4207-9CB5-EC388A14267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91582323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23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BF52E130-C080-4207-9CB5-EC388A1426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64B5C254-72E0-4C4D-A47F-C8AAA23C7685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de-DE" sz="2700" b="1" dirty="0"/>
              <a:t>Fehler die gemacht</a:t>
            </a:r>
          </a:p>
          <a:p>
            <a:r>
              <a:rPr lang="de-DE" sz="2700" b="1" dirty="0"/>
              <a:t>werden: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sz="2700" dirty="0"/>
              <a:t>Kleine Aufwände tauchen nicht in der Planung auf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sz="2700" dirty="0"/>
              <a:t>Es wird sich nicht ausreichen zurück gemeldet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sz="2700" dirty="0"/>
              <a:t>Kleine Aufwände werden nicht mit aufgezeichnet</a:t>
            </a:r>
          </a:p>
          <a:p>
            <a:pPr>
              <a:buFont typeface="Arial" panose="020B0604020202020204" pitchFamily="34" charset="0"/>
              <a:buChar char="•"/>
            </a:pPr>
            <a:endParaRPr lang="de-DE" dirty="0"/>
          </a:p>
          <a:p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D63684C3-A161-4874-B3D6-6A87A33B18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b="1" dirty="0"/>
              <a:t>Kleine Aufgaben/Aufwände summieren sich schnell auf</a:t>
            </a:r>
            <a:endParaRPr lang="de-DE" dirty="0"/>
          </a:p>
        </p:txBody>
      </p:sp>
      <p:graphicFrame>
        <p:nvGraphicFramePr>
          <p:cNvPr id="7" name="Inhaltsplatzhalter 16">
            <a:extLst>
              <a:ext uri="{FF2B5EF4-FFF2-40B4-BE49-F238E27FC236}">
                <a16:creationId xmlns:a16="http://schemas.microsoft.com/office/drawing/2014/main" id="{35B68E31-996E-4C0F-B243-3AF48400545F}"/>
              </a:ext>
            </a:extLst>
          </p:cNvPr>
          <p:cNvGraphicFramePr>
            <a:graphicFrameLocks noGrp="1"/>
          </p:cNvGraphicFramePr>
          <p:nvPr>
            <p:ph sz="half" idx="10"/>
            <p:extLst>
              <p:ext uri="{D42A27DB-BD31-4B8C-83A1-F6EECF244321}">
                <p14:modId xmlns:p14="http://schemas.microsoft.com/office/powerpoint/2010/main" val="1275984012"/>
              </p:ext>
            </p:extLst>
          </p:nvPr>
        </p:nvGraphicFramePr>
        <p:xfrm>
          <a:off x="5952067" y="1536701"/>
          <a:ext cx="5183717" cy="47984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81913489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49686CD9-8B2A-41AF-9E06-A0B2C6A5198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6467577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9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49686CD9-8B2A-41AF-9E06-A0B2C6A519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617ECDE-B970-4A3A-847F-473CB20696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b="1" dirty="0">
                <a:cs typeface="Calibri Light"/>
              </a:rPr>
              <a:t>Grund für die wenigen Stunden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B403C33-CD5B-415E-A41A-1EE3382DA51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189" indent="-457189">
              <a:buFont typeface="Arial" panose="020B0604020202020204" pitchFamily="34" charset="0"/>
              <a:buChar char="•"/>
            </a:pPr>
            <a:r>
              <a:rPr lang="de-DE" dirty="0">
                <a:cs typeface="Calibri"/>
              </a:rPr>
              <a:t>Zeitdruck wegen anderer Praktika (z.B. DBWT Partner hat wenig Arbeitsbeteiligung gezeigt)</a:t>
            </a:r>
          </a:p>
          <a:p>
            <a:pPr marL="457189" indent="-457189">
              <a:buFont typeface="Arial" panose="020B0604020202020204" pitchFamily="34" charset="0"/>
              <a:buChar char="•"/>
            </a:pPr>
            <a:r>
              <a:rPr lang="de-DE" dirty="0">
                <a:cs typeface="Calibri"/>
              </a:rPr>
              <a:t>Übernommen mit den Wochenstunden (GIP-Tutor)</a:t>
            </a:r>
          </a:p>
          <a:p>
            <a:pPr marL="457189" indent="-457189">
              <a:buFont typeface="Arial" panose="020B0604020202020204" pitchFamily="34" charset="0"/>
              <a:buChar char="•"/>
            </a:pPr>
            <a:r>
              <a:rPr lang="de-DE" dirty="0">
                <a:cs typeface="Calibri"/>
              </a:rPr>
              <a:t>Durch die sehr schlechte Interverbindung konnte sich meistens erst zurück gemeldet werden wenn die Aufgaben bereits verteilt waren</a:t>
            </a:r>
          </a:p>
          <a:p>
            <a:pPr marL="457189" indent="-457189">
              <a:buFont typeface="Arial" panose="020B0604020202020204" pitchFamily="34" charset="0"/>
              <a:buChar char="•"/>
            </a:pPr>
            <a:r>
              <a:rPr lang="de-DE" dirty="0">
                <a:cs typeface="Calibri"/>
              </a:rPr>
              <a:t>Vor zwei Monaten Probleme auf Grund von Krankheit (Corona positiv)</a:t>
            </a:r>
          </a:p>
          <a:p>
            <a:pPr marL="457189" indent="-457189">
              <a:buFont typeface="Arial" panose="020B0604020202020204" pitchFamily="34" charset="0"/>
              <a:buChar char="•"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3393099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6573305C-6A05-4719-87E9-7B6D55361E0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37500879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5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6573305C-6A05-4719-87E9-7B6D55361E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9496325F-BE50-45D8-8425-CBB1A416566E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de-DE" sz="2100" b="1" dirty="0"/>
              <a:t>Maßnahmen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sz="2100" dirty="0"/>
              <a:t>Hai Yen erstmal für keine weiteren Aufgaben eingeteilt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sz="2100" dirty="0"/>
              <a:t>Im nächsten Teamtreffen Maßnahmen abgesprochen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sz="2100" dirty="0"/>
              <a:t>Regelung getroffen: Sie darf aus Eigeninitiative helfen aber bekommt keine verpflichtenden Aufgaben mehr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sz="2100" dirty="0"/>
              <a:t>Die galt bis zu den Abschlussvorbereitungen (Phase: 7)</a:t>
            </a:r>
          </a:p>
          <a:p>
            <a:pPr marL="0" indent="0"/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35236D11-ADD6-44D3-9792-A3E24C3363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b="1" dirty="0"/>
              <a:t>Was haben wir dagegen getan?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AE80AC86-768D-49DB-A558-F1F43BBFF186}"/>
              </a:ext>
            </a:extLst>
          </p:cNvPr>
          <p:cNvSpPr>
            <a:spLocks noGrp="1"/>
          </p:cNvSpPr>
          <p:nvPr>
            <p:ph sz="half" idx="10"/>
          </p:nvPr>
        </p:nvSpPr>
        <p:spPr/>
        <p:txBody>
          <a:bodyPr/>
          <a:lstStyle/>
          <a:p>
            <a:r>
              <a:rPr lang="de-DE" sz="2100" b="1" dirty="0"/>
              <a:t>Ausschnitt des Projektplans</a:t>
            </a:r>
          </a:p>
          <a:p>
            <a:endParaRPr lang="de-DE" sz="2100" b="1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5BCA84F0-94AB-46ED-8134-323FE48BAAB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952001" y="1988840"/>
            <a:ext cx="5096460" cy="4347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580690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908F96F4-633E-4535-BCC0-4CC8470A60F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0520996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7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908F96F4-633E-4535-BCC0-4CC8470A60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756651F-DCC1-450E-AD32-0A471132EB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b="1" dirty="0"/>
              <a:t>Stellungnahme des Teammitglieds mit der meisten Zeit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37C7861-6884-4BC0-9DD9-D7CD5D61266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189" indent="-457189">
              <a:buFont typeface="Arial" panose="020B0604020202020204" pitchFamily="34" charset="0"/>
              <a:buChar char="•"/>
            </a:pPr>
            <a:r>
              <a:rPr lang="de-DE" dirty="0"/>
              <a:t>Mitarbeit an fast allen Tabs -&gt; Vorteil Bugbehebung/Anpassungen</a:t>
            </a:r>
            <a:endParaRPr lang="de-DE" dirty="0">
              <a:cs typeface="Calibri"/>
            </a:endParaRPr>
          </a:p>
          <a:p>
            <a:pPr marL="457189" indent="-457189">
              <a:buFont typeface="Arial" panose="020B0604020202020204" pitchFamily="34" charset="0"/>
              <a:buChar char="•"/>
            </a:pPr>
            <a:r>
              <a:rPr lang="de-DE" dirty="0"/>
              <a:t>Unterstützung bei/Korrektur anderer Aufgaben</a:t>
            </a:r>
            <a:endParaRPr lang="de-DE" dirty="0">
              <a:cs typeface="Calibri"/>
            </a:endParaRPr>
          </a:p>
          <a:p>
            <a:pPr marL="457189" indent="-457189">
              <a:buFont typeface="Arial" panose="020B0604020202020204" pitchFamily="34" charset="0"/>
              <a:buChar char="•"/>
            </a:pPr>
            <a:r>
              <a:rPr lang="de-DE" dirty="0"/>
              <a:t>Organisation der Testphase </a:t>
            </a:r>
            <a:endParaRPr lang="de-DE" dirty="0">
              <a:cs typeface="Calibri"/>
            </a:endParaRPr>
          </a:p>
          <a:p>
            <a:pPr marL="457189" indent="-457189">
              <a:buFont typeface="Arial" panose="020B0604020202020204" pitchFamily="34" charset="0"/>
              <a:buChar char="•"/>
            </a:pPr>
            <a:r>
              <a:rPr lang="de-DE" dirty="0"/>
              <a:t>Organisation der Bugbehebung </a:t>
            </a:r>
            <a:endParaRPr lang="de-DE" dirty="0">
              <a:cs typeface="Calibri"/>
            </a:endParaRPr>
          </a:p>
          <a:p>
            <a:pPr marL="457189" indent="-457189">
              <a:buFont typeface="Arial" panose="020B0604020202020204" pitchFamily="34" charset="0"/>
              <a:buChar char="•"/>
            </a:pPr>
            <a:r>
              <a:rPr lang="de-DE" dirty="0"/>
              <a:t>Corona bedingt viel Zeit in den Weihnachtsferien</a:t>
            </a:r>
            <a:endParaRPr lang="de-DE" dirty="0">
              <a:cs typeface="Calibri"/>
            </a:endParaRPr>
          </a:p>
          <a:p>
            <a:pPr marL="457189" indent="-457189">
              <a:buFont typeface="Arial" panose="020B0604020202020204" pitchFamily="34" charset="0"/>
              <a:buChar char="•"/>
            </a:pPr>
            <a:r>
              <a:rPr lang="de-DE" dirty="0"/>
              <a:t>Beteiligung an Abschlusspräsentation</a:t>
            </a:r>
            <a:endParaRPr lang="de-DE" dirty="0">
              <a:cs typeface="Calibri"/>
            </a:endParaRPr>
          </a:p>
          <a:p>
            <a:pPr marL="457189" indent="-457189">
              <a:buFont typeface="Arial" panose="020B0604020202020204" pitchFamily="34" charset="0"/>
              <a:buChar char="•"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2734410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C7756884-F188-49C7-B35F-21D79EF23F7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31831657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10" name="think-cell Folie" r:id="rId4" imgW="351" imgH="351" progId="TCLayout.ActiveDocument.1">
                  <p:embed/>
                </p:oleObj>
              </mc:Choice>
              <mc:Fallback>
                <p:oleObj name="think-cell Folie" r:id="rId4" imgW="351" imgH="351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C7756884-F188-49C7-B35F-21D79EF23F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194" name="Titel 1">
            <a:extLst>
              <a:ext uri="{FF2B5EF4-FFF2-40B4-BE49-F238E27FC236}">
                <a16:creationId xmlns:a16="http://schemas.microsoft.com/office/drawing/2014/main" id="{882D26B3-B72A-4378-8687-154FAD418022}"/>
              </a:ext>
            </a:extLst>
          </p:cNvPr>
          <p:cNvSpPr>
            <a:spLocks noGrp="1" noChangeAspect="1"/>
          </p:cNvSpPr>
          <p:nvPr>
            <p:ph type="ctrTitle"/>
          </p:nvPr>
        </p:nvSpPr>
        <p:spPr>
          <a:xfrm>
            <a:off x="383117" y="2660914"/>
            <a:ext cx="10752667" cy="2016919"/>
          </a:xfrm>
        </p:spPr>
        <p:txBody>
          <a:bodyPr vert="horz"/>
          <a:lstStyle/>
          <a:p>
            <a:pPr eaLnBrk="1" hangingPunct="1"/>
            <a:r>
              <a:rPr lang="de-DE" altLang="de-DE" dirty="0">
                <a:solidFill>
                  <a:srgbClr val="00B1AC"/>
                </a:solidFill>
              </a:rPr>
              <a:t>Zweck und Nutzung der </a:t>
            </a:r>
            <a:r>
              <a:rPr lang="de-DE" altLang="de-DE" dirty="0"/>
              <a:t>Software</a:t>
            </a:r>
            <a:br>
              <a:rPr lang="de-DE" altLang="de-DE" dirty="0"/>
            </a:br>
            <a:endParaRPr lang="de-DE" altLang="de-DE" dirty="0"/>
          </a:p>
        </p:txBody>
      </p:sp>
      <p:sp>
        <p:nvSpPr>
          <p:cNvPr id="8195" name="Untertitel 2">
            <a:extLst>
              <a:ext uri="{FF2B5EF4-FFF2-40B4-BE49-F238E27FC236}">
                <a16:creationId xmlns:a16="http://schemas.microsoft.com/office/drawing/2014/main" id="{5EAF288C-6A43-44C7-9B69-95C1B2140C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83117" y="4800601"/>
            <a:ext cx="10752667" cy="986367"/>
          </a:xfrm>
        </p:spPr>
        <p:txBody>
          <a:bodyPr/>
          <a:lstStyle/>
          <a:p>
            <a:pPr eaLnBrk="1" hangingPunct="1"/>
            <a:r>
              <a:rPr lang="de-DE" altLang="de-DE" dirty="0" err="1"/>
              <a:t>YourCash</a:t>
            </a:r>
            <a:r>
              <a:rPr lang="de-DE" altLang="de-DE" dirty="0"/>
              <a:t> Team</a:t>
            </a:r>
          </a:p>
          <a:p>
            <a:pPr eaLnBrk="1" hangingPunct="1"/>
            <a:r>
              <a:rPr lang="de-DE" altLang="de-DE" dirty="0"/>
              <a:t>20-01-2021</a:t>
            </a:r>
          </a:p>
        </p:txBody>
      </p:sp>
      <p:sp>
        <p:nvSpPr>
          <p:cNvPr id="8196" name="Fußzeilenplatzhalter 3">
            <a:extLst>
              <a:ext uri="{FF2B5EF4-FFF2-40B4-BE49-F238E27FC236}">
                <a16:creationId xmlns:a16="http://schemas.microsoft.com/office/drawing/2014/main" id="{75FC0D56-5C06-48ED-BC2A-62BC5798BBA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compatLnSpc="1">
            <a:prstTxWarp prst="textNoShape">
              <a:avLst/>
            </a:prstTxWarp>
          </a:bodyPr>
          <a:lstStyle>
            <a:lvl1pPr eaLnBrk="0" hangingPunct="0">
              <a:spcBef>
                <a:spcPct val="20000"/>
              </a:spcBef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990575" indent="-380990" eaLnBrk="0" hangingPunct="0">
              <a:spcBef>
                <a:spcPts val="2667"/>
              </a:spcBef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523962" indent="-304792" eaLnBrk="0" hangingPunct="0">
              <a:spcBef>
                <a:spcPct val="20000"/>
              </a:spcBef>
              <a:buFont typeface="Verdana" panose="020B0604030504040204" pitchFamily="34" charset="0"/>
              <a:buChar char="&gt;"/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2133547" indent="-304792" eaLnBrk="0" hangingPunct="0">
              <a:spcBef>
                <a:spcPts val="2133"/>
              </a:spcBef>
              <a:buFont typeface="Arial" panose="020B0604020202020204" pitchFamily="34" charset="0"/>
              <a:defRPr sz="21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743131" indent="-304792" eaLnBrk="0" hangingPunct="0">
              <a:spcBef>
                <a:spcPct val="20000"/>
              </a:spcBef>
              <a:buFont typeface="Arial" panose="020B0604020202020204" pitchFamily="34" charset="0"/>
              <a:buChar char="&gt;"/>
              <a:defRPr sz="21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3352716" indent="-304792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&gt;"/>
              <a:defRPr sz="21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3962301" indent="-304792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&gt;"/>
              <a:defRPr sz="21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4571886" indent="-304792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&gt;"/>
              <a:defRPr sz="21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5181470" indent="-304792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&gt;"/>
              <a:defRPr sz="21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de-DE" altLang="de-DE" sz="1100" b="1">
                <a:solidFill>
                  <a:schemeClr val="bg1"/>
                </a:solidFill>
              </a:rPr>
              <a:t>© FH AACHEN </a:t>
            </a:r>
            <a:r>
              <a:rPr lang="de-DE" altLang="de-DE" sz="1100">
                <a:solidFill>
                  <a:schemeClr val="bg1"/>
                </a:solidFill>
              </a:rPr>
              <a:t>UNIVERSITY OF APPLIED SCIENCES  |  REKTOR  |  BAYERNALLEE 11  |  52066 AACHEN  |  WWW.FH-AACHEN.DE</a:t>
            </a:r>
          </a:p>
        </p:txBody>
      </p:sp>
    </p:spTree>
    <p:extLst>
      <p:ext uri="{BB962C8B-B14F-4D97-AF65-F5344CB8AC3E}">
        <p14:creationId xmlns:p14="http://schemas.microsoft.com/office/powerpoint/2010/main" val="16263557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F954CEF-464E-4236-8F72-D8FBAD31AE8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59740315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62" name="think-cell Folie" r:id="rId5" imgW="351" imgH="351" progId="TCLayout.ActiveDocument.1">
                  <p:embed/>
                </p:oleObj>
              </mc:Choice>
              <mc:Fallback>
                <p:oleObj name="think-cell Folie" r:id="rId5" imgW="351" imgH="351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4F954CEF-464E-4236-8F72-D8FBAD31AE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218" name="Titel 6">
            <a:extLst>
              <a:ext uri="{FF2B5EF4-FFF2-40B4-BE49-F238E27FC236}">
                <a16:creationId xmlns:a16="http://schemas.microsoft.com/office/drawing/2014/main" id="{F1BC5A96-10D9-4C14-8465-8DAAEF9E1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117" y="287867"/>
            <a:ext cx="10752667" cy="933451"/>
          </a:xfrm>
        </p:spPr>
        <p:txBody>
          <a:bodyPr vert="horz"/>
          <a:lstStyle/>
          <a:p>
            <a:r>
              <a:rPr lang="de-DE" altLang="de-DE" dirty="0"/>
              <a:t>Kurzer Überblick über das App</a:t>
            </a:r>
            <a:br>
              <a:rPr lang="de-DE" altLang="de-DE" dirty="0"/>
            </a:br>
            <a:endParaRPr lang="de-DE" altLang="de-DE" dirty="0"/>
          </a:p>
        </p:txBody>
      </p:sp>
      <p:sp>
        <p:nvSpPr>
          <p:cNvPr id="9219" name="Inhaltsplatzhalter 7">
            <a:extLst>
              <a:ext uri="{FF2B5EF4-FFF2-40B4-BE49-F238E27FC236}">
                <a16:creationId xmlns:a16="http://schemas.microsoft.com/office/drawing/2014/main" id="{57603890-A08E-45C8-8086-344BF2610CE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3118" y="1509184"/>
            <a:ext cx="5520861" cy="4826000"/>
          </a:xfrm>
        </p:spPr>
        <p:txBody>
          <a:bodyPr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de-DE" altLang="de-DE" dirty="0"/>
              <a:t>Garage</a:t>
            </a:r>
          </a:p>
          <a:p>
            <a:pPr marL="1422364" lvl="2" indent="-457189">
              <a:spcBef>
                <a:spcPct val="0"/>
              </a:spcBef>
            </a:pPr>
            <a:r>
              <a:rPr lang="de-DE" altLang="de-DE" dirty="0"/>
              <a:t>Startseite</a:t>
            </a:r>
          </a:p>
          <a:p>
            <a:pPr marL="1422364" lvl="2" indent="-457189">
              <a:spcBef>
                <a:spcPct val="0"/>
              </a:spcBef>
            </a:pPr>
            <a:r>
              <a:rPr lang="de-DE" altLang="de-DE" dirty="0"/>
              <a:t>Autos verwalten</a:t>
            </a:r>
          </a:p>
          <a:p>
            <a:pPr marL="1422364" lvl="2" indent="-457189">
              <a:spcBef>
                <a:spcPct val="0"/>
              </a:spcBef>
            </a:pPr>
            <a:endParaRPr lang="de-DE" altLang="de-DE" dirty="0"/>
          </a:p>
          <a:p>
            <a:pPr marL="1422364" lvl="2" indent="-457189">
              <a:spcBef>
                <a:spcPct val="0"/>
              </a:spcBef>
            </a:pPr>
            <a:endParaRPr lang="de-DE" altLang="de-DE" dirty="0"/>
          </a:p>
          <a:p>
            <a:pPr marL="1422364" lvl="2" indent="-457189">
              <a:spcBef>
                <a:spcPct val="0"/>
              </a:spcBef>
            </a:pPr>
            <a:endParaRPr lang="de-DE" altLang="de-DE" dirty="0"/>
          </a:p>
        </p:txBody>
      </p:sp>
      <p:pic>
        <p:nvPicPr>
          <p:cNvPr id="14" name="Grafik 13" descr="Ein Bild, das Text, Monitor, Elektronik, Screenshot enthält.&#10;&#10;Automatisch generierte Beschreibung">
            <a:extLst>
              <a:ext uri="{FF2B5EF4-FFF2-40B4-BE49-F238E27FC236}">
                <a16:creationId xmlns:a16="http://schemas.microsoft.com/office/drawing/2014/main" id="{AEABABB5-0157-4745-BD4F-9879641A81F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2171" y="1378694"/>
            <a:ext cx="2985012" cy="50869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826954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F954CEF-464E-4236-8F72-D8FBAD31AE8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77767029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14" name="think-cell Folie" r:id="rId5" imgW="351" imgH="351" progId="TCLayout.ActiveDocument.1">
                  <p:embed/>
                </p:oleObj>
              </mc:Choice>
              <mc:Fallback>
                <p:oleObj name="think-cell Folie" r:id="rId5" imgW="351" imgH="351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4F954CEF-464E-4236-8F72-D8FBAD31AE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218" name="Titel 6">
            <a:extLst>
              <a:ext uri="{FF2B5EF4-FFF2-40B4-BE49-F238E27FC236}">
                <a16:creationId xmlns:a16="http://schemas.microsoft.com/office/drawing/2014/main" id="{F1BC5A96-10D9-4C14-8465-8DAAEF9E1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117" y="287867"/>
            <a:ext cx="10752667" cy="933451"/>
          </a:xfrm>
        </p:spPr>
        <p:txBody>
          <a:bodyPr vert="horz"/>
          <a:lstStyle/>
          <a:p>
            <a:r>
              <a:rPr lang="de-DE" altLang="de-DE" dirty="0"/>
              <a:t>Kurzer Überblick über das App</a:t>
            </a:r>
            <a:br>
              <a:rPr lang="de-DE" altLang="de-DE" dirty="0"/>
            </a:br>
            <a:endParaRPr lang="de-DE" altLang="de-DE" dirty="0"/>
          </a:p>
        </p:txBody>
      </p:sp>
      <p:sp>
        <p:nvSpPr>
          <p:cNvPr id="9219" name="Inhaltsplatzhalter 7">
            <a:extLst>
              <a:ext uri="{FF2B5EF4-FFF2-40B4-BE49-F238E27FC236}">
                <a16:creationId xmlns:a16="http://schemas.microsoft.com/office/drawing/2014/main" id="{57603890-A08E-45C8-8086-344BF2610CE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3118" y="1509184"/>
            <a:ext cx="5520861" cy="4826000"/>
          </a:xfrm>
        </p:spPr>
        <p:txBody>
          <a:bodyPr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de-DE" altLang="de-DE" dirty="0"/>
              <a:t>Fahrzeugübersicht</a:t>
            </a:r>
          </a:p>
          <a:p>
            <a:pPr marL="1422364" lvl="2" indent="-457189">
              <a:spcBef>
                <a:spcPct val="0"/>
              </a:spcBef>
            </a:pPr>
            <a:r>
              <a:rPr lang="de-DE" altLang="de-DE" dirty="0">
                <a:latin typeface="Verdana"/>
                <a:ea typeface="Verdana"/>
              </a:rPr>
              <a:t>Alle wichtige Informationen von dem Auto </a:t>
            </a:r>
            <a:r>
              <a:rPr lang="de-DE" altLang="de-DE" dirty="0" err="1">
                <a:latin typeface="Verdana"/>
                <a:ea typeface="Verdana"/>
              </a:rPr>
              <a:t>anzegien</a:t>
            </a:r>
            <a:endParaRPr lang="de-DE" altLang="de-DE" dirty="0">
              <a:latin typeface="Verdana"/>
              <a:ea typeface="Verdana"/>
            </a:endParaRPr>
          </a:p>
          <a:p>
            <a:pPr lvl="2" indent="0">
              <a:spcBef>
                <a:spcPct val="0"/>
              </a:spcBef>
              <a:buNone/>
            </a:pPr>
            <a:endParaRPr lang="de-DE" altLang="de-DE" dirty="0"/>
          </a:p>
          <a:p>
            <a:pPr marL="1422364" lvl="2" indent="-457189">
              <a:spcBef>
                <a:spcPct val="0"/>
              </a:spcBef>
            </a:pPr>
            <a:endParaRPr lang="de-DE" altLang="de-DE" dirty="0"/>
          </a:p>
          <a:p>
            <a:pPr marL="1422364" lvl="2" indent="-457189">
              <a:spcBef>
                <a:spcPct val="0"/>
              </a:spcBef>
            </a:pPr>
            <a:endParaRPr lang="de-DE" altLang="de-DE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E52562FE-B128-4776-91EF-67D4D63298A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2171" y="1412776"/>
            <a:ext cx="2981703" cy="482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88674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x6xuAD95idfgB.0CxjaX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m5Hz0Mqro_AYkfpFavT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Larissa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FHAAC Design schwarz auf weiß">
  <a:themeElements>
    <a:clrScheme name="FHAAC Farben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B1AC"/>
      </a:accent1>
      <a:accent2>
        <a:srgbClr val="13A39A"/>
      </a:accent2>
      <a:accent3>
        <a:srgbClr val="0C9088"/>
      </a:accent3>
      <a:accent4>
        <a:srgbClr val="006D68"/>
      </a:accent4>
      <a:accent5>
        <a:srgbClr val="004744"/>
      </a:accent5>
      <a:accent6>
        <a:srgbClr val="000000"/>
      </a:accent6>
      <a:hlink>
        <a:srgbClr val="0000FF"/>
      </a:hlink>
      <a:folHlink>
        <a:srgbClr val="800080"/>
      </a:folHlink>
    </a:clrScheme>
    <a:fontScheme name="FHAAC Schrif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FHAAC Design weiß auf schwarz">
  <a:themeElements>
    <a:clrScheme name="FH Farben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B1AC"/>
      </a:accent1>
      <a:accent2>
        <a:srgbClr val="13A39A"/>
      </a:accent2>
      <a:accent3>
        <a:srgbClr val="0C9088"/>
      </a:accent3>
      <a:accent4>
        <a:srgbClr val="006D68"/>
      </a:accent4>
      <a:accent5>
        <a:srgbClr val="004744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1_FHAAC Design schwarz auf weiß">
  <a:themeElements>
    <a:clrScheme name="FHAAC Farben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B1AC"/>
      </a:accent1>
      <a:accent2>
        <a:srgbClr val="13A39A"/>
      </a:accent2>
      <a:accent3>
        <a:srgbClr val="0C9088"/>
      </a:accent3>
      <a:accent4>
        <a:srgbClr val="006D68"/>
      </a:accent4>
      <a:accent5>
        <a:srgbClr val="004744"/>
      </a:accent5>
      <a:accent6>
        <a:srgbClr val="000000"/>
      </a:accent6>
      <a:hlink>
        <a:srgbClr val="0000FF"/>
      </a:hlink>
      <a:folHlink>
        <a:srgbClr val="800080"/>
      </a:folHlink>
    </a:clrScheme>
    <a:fontScheme name="FHAAC Schrif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FHAAC Design weiß auf schwarz">
  <a:themeElements>
    <a:clrScheme name="FH Farben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B1AC"/>
      </a:accent1>
      <a:accent2>
        <a:srgbClr val="13A39A"/>
      </a:accent2>
      <a:accent3>
        <a:srgbClr val="0C9088"/>
      </a:accent3>
      <a:accent4>
        <a:srgbClr val="006D68"/>
      </a:accent4>
      <a:accent5>
        <a:srgbClr val="004744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1_FHAAC Design schwarz auf weiß">
  <a:themeElements>
    <a:clrScheme name="FHAAC Farben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B1AC"/>
      </a:accent1>
      <a:accent2>
        <a:srgbClr val="13A39A"/>
      </a:accent2>
      <a:accent3>
        <a:srgbClr val="0C9088"/>
      </a:accent3>
      <a:accent4>
        <a:srgbClr val="006D68"/>
      </a:accent4>
      <a:accent5>
        <a:srgbClr val="004744"/>
      </a:accent5>
      <a:accent6>
        <a:srgbClr val="000000"/>
      </a:accent6>
      <a:hlink>
        <a:srgbClr val="0000FF"/>
      </a:hlink>
      <a:folHlink>
        <a:srgbClr val="800080"/>
      </a:folHlink>
    </a:clrScheme>
    <a:fontScheme name="FHAAC Schrif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0</Words>
  <Application>Microsoft Office PowerPoint</Application>
  <PresentationFormat>Breitbild</PresentationFormat>
  <Paragraphs>0</Paragraphs>
  <Slides>31</Slides>
  <Notes>8</Notes>
  <HiddenSlides>0</HiddenSlides>
  <MMClips>0</MMClips>
  <ScaleCrop>false</ScaleCrop>
  <HeadingPairs>
    <vt:vector size="4" baseType="variant">
      <vt:variant>
        <vt:lpstr>Design</vt:lpstr>
      </vt:variant>
      <vt:variant>
        <vt:i4>7</vt:i4>
      </vt:variant>
      <vt:variant>
        <vt:lpstr>Folientitel</vt:lpstr>
      </vt:variant>
      <vt:variant>
        <vt:i4>31</vt:i4>
      </vt:variant>
    </vt:vector>
  </HeadingPairs>
  <TitlesOfParts>
    <vt:vector size="38" baseType="lpstr">
      <vt:lpstr>Larissa</vt:lpstr>
      <vt:lpstr>1_FHAAC Design schwarz auf weiß</vt:lpstr>
      <vt:lpstr>Office</vt:lpstr>
      <vt:lpstr>FHAAC Design weiß auf schwarz</vt:lpstr>
      <vt:lpstr>1_FHAAC Design schwarz auf weiß</vt:lpstr>
      <vt:lpstr>FHAAC Design weiß auf schwarz</vt:lpstr>
      <vt:lpstr>1_FHAAC Design schwarz auf weiß</vt:lpstr>
      <vt:lpstr>Abschlusspräsentation</vt:lpstr>
      <vt:lpstr>Nachgetragene Zeiten</vt:lpstr>
      <vt:lpstr>Teamaufwände</vt:lpstr>
      <vt:lpstr>Grund für die wenigen Stunden</vt:lpstr>
      <vt:lpstr>Was haben wir dagegen getan?</vt:lpstr>
      <vt:lpstr>Stellungnahme des Teammitglieds mit der meisten Zeit</vt:lpstr>
      <vt:lpstr>Zweck und Nutzung der Software </vt:lpstr>
      <vt:lpstr>Kurzer Überblick über das App </vt:lpstr>
      <vt:lpstr>Kurzer Überblick über das App </vt:lpstr>
      <vt:lpstr>Kurzer Überblick über das App </vt:lpstr>
      <vt:lpstr>Kurzer Überblick über das App </vt:lpstr>
      <vt:lpstr>Kurzer Überblick über das App </vt:lpstr>
      <vt:lpstr>Kurzer Überblick über das App </vt:lpstr>
      <vt:lpstr>Kurzer Überblick über das App </vt:lpstr>
      <vt:lpstr>PowerPoint-Präsentation</vt:lpstr>
      <vt:lpstr>Zielgruppen</vt:lpstr>
      <vt:lpstr>Zielgruppen</vt:lpstr>
      <vt:lpstr>Zielgruppen</vt:lpstr>
      <vt:lpstr>Highlight Präsentation – YourCar Gruppe EasyCrash</vt:lpstr>
      <vt:lpstr>Demonstration findet nicht über den simulierten Emulator statt</vt:lpstr>
      <vt:lpstr>PowerPoint-Präsentation</vt:lpstr>
      <vt:lpstr>PowerPoint-Präsentation</vt:lpstr>
      <vt:lpstr>PowerPoint-Präsentation</vt:lpstr>
      <vt:lpstr>PowerPoint-Präsentation</vt:lpstr>
      <vt:lpstr>Passt zur Konfiguration des Nutzers</vt:lpstr>
      <vt:lpstr>PowerPoint-Präsentation</vt:lpstr>
      <vt:lpstr>Man sollte möglichst früh einen vollständigen ersten Projektplan aufsetzen.  </vt:lpstr>
      <vt:lpstr>Feste Zuständigkeiten für jede Aufgabe sind ein muss</vt:lpstr>
      <vt:lpstr>Der Zeitaufwand für das Testen und Bugs beheben ist leicht zu unterschätzen.</vt:lpstr>
      <vt:lpstr>Planung über freie Tage/Ferien ist oft zu optimistisch</vt:lpstr>
      <vt:lpstr>Kleine Aufgaben/Aufwände summieren sich schnell auf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/>
  <cp:lastModifiedBy/>
  <cp:revision>7</cp:revision>
  <dcterms:created xsi:type="dcterms:W3CDTF">2021-01-20T10:09:55Z</dcterms:created>
  <dcterms:modified xsi:type="dcterms:W3CDTF">2021-01-20T10:15:33Z</dcterms:modified>
</cp:coreProperties>
</file>